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7.xml" ContentType="application/vnd.openxmlformats-officedocument.presentationml.tags+xml"/>
  <Override PartName="/ppt/theme/themeOverride4.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5.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heme/themeOverride6.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heme/themeOverride7.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Override8.xml" ContentType="application/vnd.openxmlformats-officedocument.themeOverride+xml"/>
  <Override PartName="/ppt/theme/themeOverride9.xml" ContentType="application/vnd.openxmlformats-officedocument.themeOverride+xml"/>
  <Override PartName="/ppt/tags/tag17.xml" ContentType="application/vnd.openxmlformats-officedocument.presentationml.tags+xml"/>
  <Override PartName="/ppt/theme/themeOverride10.xml" ContentType="application/vnd.openxmlformats-officedocument.themeOverride+xml"/>
  <Override PartName="/ppt/tags/tag18.xml" ContentType="application/vnd.openxmlformats-officedocument.presentationml.tags+xml"/>
  <Override PartName="/ppt/theme/themeOverride11.xml" ContentType="application/vnd.openxmlformats-officedocument.themeOverride+xml"/>
  <Override PartName="/ppt/theme/themeOverride12.xml" ContentType="application/vnd.openxmlformats-officedocument.themeOverride+xml"/>
  <Override PartName="/ppt/tags/tag19.xml" ContentType="application/vnd.openxmlformats-officedocument.presentationml.tags+xml"/>
  <Override PartName="/ppt/theme/themeOverride13.xml" ContentType="application/vnd.openxmlformats-officedocument.themeOverride+xml"/>
  <Override PartName="/ppt/tags/tag20.xml" ContentType="application/vnd.openxmlformats-officedocument.presentationml.tags+xml"/>
  <Override PartName="/ppt/theme/themeOverride14.xml" ContentType="application/vnd.openxmlformats-officedocument.themeOverride+xml"/>
  <Override PartName="/ppt/theme/themeOverride15.xml" ContentType="application/vnd.openxmlformats-officedocument.themeOverride+xml"/>
  <Override PartName="/ppt/tags/tag21.xml" ContentType="application/vnd.openxmlformats-officedocument.presentationml.tags+xml"/>
  <Override PartName="/ppt/theme/themeOverride16.xml" ContentType="application/vnd.openxmlformats-officedocument.themeOverride+xml"/>
  <Override PartName="/ppt/theme/themeOverride17.xml" ContentType="application/vnd.openxmlformats-officedocument.themeOverride+xml"/>
  <Override PartName="/ppt/tags/tag22.xml" ContentType="application/vnd.openxmlformats-officedocument.presentationml.tags+xml"/>
  <Override PartName="/ppt/theme/themeOverride18.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19.xml" ContentType="application/vnd.openxmlformats-officedocument.themeOverride+xml"/>
  <Override PartName="/ppt/tags/tag28.xml" ContentType="application/vnd.openxmlformats-officedocument.presentationml.tags+xml"/>
  <Override PartName="/ppt/tags/tag29.xml" ContentType="application/vnd.openxmlformats-officedocument.presentationml.tags+xml"/>
  <Override PartName="/ppt/theme/themeOverride20.xml" ContentType="application/vnd.openxmlformats-officedocument.themeOverride+xml"/>
  <Override PartName="/ppt/theme/themeOverride21.xml" ContentType="application/vnd.openxmlformats-officedocument.themeOverride+xml"/>
  <Override PartName="/ppt/tags/tag30.xml" ContentType="application/vnd.openxmlformats-officedocument.presentationml.tags+xml"/>
  <Override PartName="/ppt/tags/tag31.xml" ContentType="application/vnd.openxmlformats-officedocument.presentationml.tags+xml"/>
  <Override PartName="/ppt/theme/themeOverride22.xml" ContentType="application/vnd.openxmlformats-officedocument.themeOverride+xml"/>
  <Override PartName="/ppt/tags/tag32.xml" ContentType="application/vnd.openxmlformats-officedocument.presentationml.tags+xml"/>
  <Override PartName="/ppt/theme/themeOverride23.xml" ContentType="application/vnd.openxmlformats-officedocument.themeOverride+xml"/>
  <Override PartName="/ppt/tags/tag33.xml" ContentType="application/vnd.openxmlformats-officedocument.presentationml.tags+xml"/>
  <Override PartName="/ppt/theme/themeOverride24.xml" ContentType="application/vnd.openxmlformats-officedocument.themeOverride+xml"/>
  <Override PartName="/ppt/theme/themeOverride25.xml" ContentType="application/vnd.openxmlformats-officedocument.themeOverride+xml"/>
  <Override PartName="/ppt/tags/tag34.xml" ContentType="application/vnd.openxmlformats-officedocument.presentationml.tags+xml"/>
  <Override PartName="/ppt/theme/themeOverride26.xml" ContentType="application/vnd.openxmlformats-officedocument.themeOverride+xml"/>
  <Override PartName="/ppt/tags/tag35.xml" ContentType="application/vnd.openxmlformats-officedocument.presentationml.tags+xml"/>
  <Override PartName="/ppt/theme/themeOverride27.xml" ContentType="application/vnd.openxmlformats-officedocument.themeOverride+xml"/>
  <Override PartName="/ppt/theme/themeOverride28.xml" ContentType="application/vnd.openxmlformats-officedocument.themeOverride+xml"/>
  <Override PartName="/ppt/tags/tag36.xml" ContentType="application/vnd.openxmlformats-officedocument.presentationml.tags+xml"/>
  <Override PartName="/ppt/theme/themeOverride29.xml" ContentType="application/vnd.openxmlformats-officedocument.themeOverride+xml"/>
  <Override PartName="/ppt/theme/themeOverride30.xml" ContentType="application/vnd.openxmlformats-officedocument.themeOverride+xml"/>
  <Override PartName="/ppt/tags/tag37.xml" ContentType="application/vnd.openxmlformats-officedocument.presentationml.tags+xml"/>
  <Override PartName="/ppt/theme/themeOverride31.xml" ContentType="application/vnd.openxmlformats-officedocument.themeOverride+xml"/>
  <Override PartName="/ppt/tags/tag38.xml" ContentType="application/vnd.openxmlformats-officedocument.presentationml.tags+xml"/>
  <Override PartName="/ppt/tags/tag39.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Override32.xml" ContentType="application/vnd.openxmlformats-officedocument.themeOverride+xml"/>
  <Override PartName="/ppt/tags/tag43.xml" ContentType="application/vnd.openxmlformats-officedocument.presentationml.tags+xml"/>
  <Override PartName="/ppt/tags/tag44.xml" ContentType="application/vnd.openxmlformats-officedocument.presentationml.tags+xml"/>
  <Override PartName="/ppt/theme/themeOverride33.xml" ContentType="application/vnd.openxmlformats-officedocument.themeOverride+xml"/>
  <Override PartName="/ppt/theme/themeOverride34.xml" ContentType="application/vnd.openxmlformats-officedocument.themeOverride+xml"/>
  <Override PartName="/ppt/theme/themeOverride35.xml" ContentType="application/vnd.openxmlformats-officedocument.themeOverride+xml"/>
  <Override PartName="/ppt/tags/tag45.xml" ContentType="application/vnd.openxmlformats-officedocument.presentationml.tags+xml"/>
  <Override PartName="/ppt/theme/themeOverride36.xml" ContentType="application/vnd.openxmlformats-officedocument.themeOverride+xml"/>
  <Override PartName="/ppt/tags/tag46.xml" ContentType="application/vnd.openxmlformats-officedocument.presentationml.tags+xml"/>
  <Override PartName="/ppt/theme/themeOverride37.xml" ContentType="application/vnd.openxmlformats-officedocument.themeOverr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Override38.xml" ContentType="application/vnd.openxmlformats-officedocument.themeOverride+xml"/>
  <Override PartName="/ppt/tags/tag50.xml" ContentType="application/vnd.openxmlformats-officedocument.presentationml.tags+xml"/>
  <Override PartName="/ppt/tags/tag51.xml" ContentType="application/vnd.openxmlformats-officedocument.presentationml.tags+xml"/>
  <Override PartName="/ppt/theme/themeOverride39.xml" ContentType="application/vnd.openxmlformats-officedocument.themeOverride+xml"/>
  <Override PartName="/ppt/tags/tag52.xml" ContentType="application/vnd.openxmlformats-officedocument.presentationml.tags+xml"/>
  <Override PartName="/ppt/tags/tag53.xml" ContentType="application/vnd.openxmlformats-officedocument.presentationml.tags+xml"/>
  <Override PartName="/ppt/theme/themeOverride40.xml" ContentType="application/vnd.openxmlformats-officedocument.themeOverride+xml"/>
  <Override PartName="/ppt/tags/tag54.xml" ContentType="application/vnd.openxmlformats-officedocument.presentationml.tags+xml"/>
  <Override PartName="/ppt/tags/tag55.xml" ContentType="application/vnd.openxmlformats-officedocument.presentationml.tags+xml"/>
  <Override PartName="/ppt/theme/themeOverride41.xml" ContentType="application/vnd.openxmlformats-officedocument.themeOverride+xml"/>
  <Override PartName="/ppt/theme/themeOverride42.xml" ContentType="application/vnd.openxmlformats-officedocument.themeOverride+xml"/>
  <Override PartName="/ppt/tags/tag56.xml" ContentType="application/vnd.openxmlformats-officedocument.presentationml.tags+xml"/>
  <Override PartName="/ppt/theme/themeOverride43.xml" ContentType="application/vnd.openxmlformats-officedocument.themeOverride+xml"/>
  <Override PartName="/ppt/tags/tag57.xml" ContentType="application/vnd.openxmlformats-officedocument.presentationml.tags+xml"/>
  <Override PartName="/ppt/theme/themeOverride44.xml" ContentType="application/vnd.openxmlformats-officedocument.themeOverride+xml"/>
  <Override PartName="/ppt/theme/themeOverride45.xml" ContentType="application/vnd.openxmlformats-officedocument.themeOverride+xml"/>
  <Override PartName="/ppt/tags/tag58.xml" ContentType="application/vnd.openxmlformats-officedocument.presentationml.tags+xml"/>
  <Override PartName="/ppt/theme/themeOverride46.xml" ContentType="application/vnd.openxmlformats-officedocument.themeOverride+xml"/>
  <Override PartName="/ppt/tags/tag59.xml" ContentType="application/vnd.openxmlformats-officedocument.presentationml.tags+xml"/>
  <Override PartName="/ppt/theme/themeOverride47.xml" ContentType="application/vnd.openxmlformats-officedocument.themeOverride+xml"/>
  <Override PartName="/ppt/theme/themeOverride48.xml" ContentType="application/vnd.openxmlformats-officedocument.themeOverride+xml"/>
  <Override PartName="/ppt/tags/tag60.xml" ContentType="application/vnd.openxmlformats-officedocument.presentationml.tags+xml"/>
  <Override PartName="/ppt/theme/themeOverride49.xml" ContentType="application/vnd.openxmlformats-officedocument.themeOverride+xml"/>
  <Override PartName="/ppt/theme/themeOverride50.xml" ContentType="application/vnd.openxmlformats-officedocument.themeOverride+xml"/>
  <Override PartName="/ppt/tags/tag61.xml" ContentType="application/vnd.openxmlformats-officedocument.presentationml.tags+xml"/>
  <Override PartName="/ppt/theme/themeOverride51.xml" ContentType="application/vnd.openxmlformats-officedocument.themeOverride+xml"/>
  <Override PartName="/ppt/tags/tag62.xml" ContentType="application/vnd.openxmlformats-officedocument.presentationml.tags+xml"/>
  <Override PartName="/ppt/tags/tag63.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heme/themeOverride52.xml" ContentType="application/vnd.openxmlformats-officedocument.themeOverride+xml"/>
  <Override PartName="/ppt/tags/tag67.xml" ContentType="application/vnd.openxmlformats-officedocument.presentationml.tags+xml"/>
  <Override PartName="/ppt/tags/tag68.xml" ContentType="application/vnd.openxmlformats-officedocument.presentationml.tags+xml"/>
  <Override PartName="/ppt/theme/themeOverride53.xml" ContentType="application/vnd.openxmlformats-officedocument.themeOverride+xml"/>
  <Override PartName="/ppt/theme/themeOverride54.xml" ContentType="application/vnd.openxmlformats-officedocument.themeOverride+xml"/>
  <Override PartName="/ppt/tags/tag69.xml" ContentType="application/vnd.openxmlformats-officedocument.presentationml.tags+xml"/>
  <Override PartName="/ppt/theme/themeOverride55.xml" ContentType="application/vnd.openxmlformats-officedocument.themeOverride+xml"/>
  <Override PartName="/ppt/tags/tag70.xml" ContentType="application/vnd.openxmlformats-officedocument.presentationml.tags+xml"/>
  <Override PartName="/ppt/theme/themeOverride56.xml" ContentType="application/vnd.openxmlformats-officedocument.themeOverride+xml"/>
  <Override PartName="/ppt/tags/tag71.xml" ContentType="application/vnd.openxmlformats-officedocument.presentationml.tags+xml"/>
  <Override PartName="/ppt/tags/tag72.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702" r:id="rId6"/>
    <p:sldMasterId id="2147483714" r:id="rId7"/>
    <p:sldMasterId id="2147483729" r:id="rId8"/>
    <p:sldMasterId id="2147483752" r:id="rId9"/>
    <p:sldMasterId id="2147483760" r:id="rId10"/>
  </p:sldMasterIdLst>
  <p:notesMasterIdLst>
    <p:notesMasterId r:id="rId45"/>
  </p:notesMasterIdLst>
  <p:handoutMasterIdLst>
    <p:handoutMasterId r:id="rId46"/>
  </p:handoutMasterIdLst>
  <p:sldIdLst>
    <p:sldId id="259" r:id="rId11"/>
    <p:sldId id="442" r:id="rId12"/>
    <p:sldId id="298" r:id="rId13"/>
    <p:sldId id="297" r:id="rId14"/>
    <p:sldId id="282" r:id="rId15"/>
    <p:sldId id="434" r:id="rId16"/>
    <p:sldId id="2449" r:id="rId17"/>
    <p:sldId id="441" r:id="rId18"/>
    <p:sldId id="439" r:id="rId19"/>
    <p:sldId id="2450" r:id="rId20"/>
    <p:sldId id="267" r:id="rId21"/>
    <p:sldId id="342" r:id="rId22"/>
    <p:sldId id="256" r:id="rId23"/>
    <p:sldId id="257" r:id="rId24"/>
    <p:sldId id="431" r:id="rId25"/>
    <p:sldId id="260" r:id="rId26"/>
    <p:sldId id="432" r:id="rId27"/>
    <p:sldId id="2437" r:id="rId28"/>
    <p:sldId id="2438" r:id="rId29"/>
    <p:sldId id="2447" r:id="rId30"/>
    <p:sldId id="2454" r:id="rId31"/>
    <p:sldId id="2451" r:id="rId32"/>
    <p:sldId id="433" r:id="rId33"/>
    <p:sldId id="440" r:id="rId34"/>
    <p:sldId id="2452" r:id="rId35"/>
    <p:sldId id="337" r:id="rId36"/>
    <p:sldId id="2453" r:id="rId37"/>
    <p:sldId id="365" r:id="rId38"/>
    <p:sldId id="436" r:id="rId39"/>
    <p:sldId id="299" r:id="rId40"/>
    <p:sldId id="438" r:id="rId41"/>
    <p:sldId id="443" r:id="rId42"/>
    <p:sldId id="444" r:id="rId43"/>
    <p:sldId id="2448" r:id="rId44"/>
  </p:sldIdLst>
  <p:sldSz cx="12192000" cy="6858000"/>
  <p:notesSz cx="6808788" cy="9940925"/>
  <p:custDataLst>
    <p:tags r:id="rId47"/>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AC0"/>
    <a:srgbClr val="FFFFFF"/>
    <a:srgbClr val="73B6D2"/>
    <a:srgbClr val="F9D273"/>
    <a:srgbClr val="F6B392"/>
    <a:srgbClr val="F4AD00"/>
    <a:srgbClr val="EE7439"/>
    <a:srgbClr val="183F5A"/>
    <a:srgbClr val="000000"/>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424" autoAdjust="0"/>
    <p:restoredTop sz="95827" autoAdjust="0"/>
  </p:normalViewPr>
  <p:slideViewPr>
    <p:cSldViewPr snapToGrid="0">
      <p:cViewPr varScale="1">
        <p:scale>
          <a:sx n="63" d="100"/>
          <a:sy n="63" d="100"/>
        </p:scale>
        <p:origin x="864" y="44"/>
      </p:cViewPr>
      <p:guideLst/>
    </p:cSldViewPr>
  </p:slideViewPr>
  <p:outlineViewPr>
    <p:cViewPr>
      <p:scale>
        <a:sx n="33" d="100"/>
        <a:sy n="33" d="100"/>
      </p:scale>
      <p:origin x="0" y="-130884"/>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1" d="100"/>
          <a:sy n="51" d="100"/>
        </p:scale>
        <p:origin x="2976"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viewProps" Target="viewProps.xml"/><Relationship Id="rId10" Type="http://schemas.openxmlformats.org/officeDocument/2006/relationships/slideMaster" Target="slideMasters/slideMaster6.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presProps" Target="presProps.xml"/><Relationship Id="rId8" Type="http://schemas.openxmlformats.org/officeDocument/2006/relationships/slideMaster" Target="slideMasters/slideMaster4.xml"/><Relationship Id="rId51"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hyperlink" Target="mailto:petemcgovern@me.com" TargetMode="External"/><Relationship Id="rId1" Type="http://schemas.openxmlformats.org/officeDocument/2006/relationships/hyperlink" Target="mailto:mette.elling@gmail.com" TargetMode="Externa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svg"/></Relationships>
</file>

<file path=ppt/diagrams/_rels/drawing1.xml.rels><?xml version="1.0" encoding="UTF-8" standalone="yes"?>
<Relationships xmlns="http://schemas.openxmlformats.org/package/2006/relationships"><Relationship Id="rId8" Type="http://schemas.openxmlformats.org/officeDocument/2006/relationships/hyperlink" Target="mailto:petemcgovern@me.com" TargetMode="External"/><Relationship Id="rId3" Type="http://schemas.openxmlformats.org/officeDocument/2006/relationships/image" Target="../media/image35.png"/><Relationship Id="rId7" Type="http://schemas.openxmlformats.org/officeDocument/2006/relationships/image" Target="../media/image38.svg"/><Relationship Id="rId2" Type="http://schemas.openxmlformats.org/officeDocument/2006/relationships/image" Target="../media/image34.svg"/><Relationship Id="rId1" Type="http://schemas.openxmlformats.org/officeDocument/2006/relationships/image" Target="../media/image33.png"/><Relationship Id="rId6" Type="http://schemas.openxmlformats.org/officeDocument/2006/relationships/image" Target="../media/image37.png"/><Relationship Id="rId5" Type="http://schemas.openxmlformats.org/officeDocument/2006/relationships/hyperlink" Target="mailto:mette.elling@gmail.com" TargetMode="External"/><Relationship Id="rId4" Type="http://schemas.openxmlformats.org/officeDocument/2006/relationships/image" Target="../media/image36.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94F898-9DA3-4846-A3AC-DFF38948A532}"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F4DF2856-8F4E-4A20-8630-4D8DE0FC0918}">
      <dgm:prSet/>
      <dgm:spPr/>
      <dgm:t>
        <a:bodyPr/>
        <a:lstStyle/>
        <a:p>
          <a:pPr>
            <a:lnSpc>
              <a:spcPct val="100000"/>
            </a:lnSpc>
          </a:pPr>
          <a:r>
            <a:rPr lang="nb-NO"/>
            <a:t>Questions / comments?</a:t>
          </a:r>
          <a:endParaRPr lang="en-US"/>
        </a:p>
      </dgm:t>
    </dgm:pt>
    <dgm:pt modelId="{62A91665-2836-46EA-8302-C09879924D62}" type="parTrans" cxnId="{EC23066C-0C02-4E67-91F4-AA372C2E0416}">
      <dgm:prSet/>
      <dgm:spPr/>
      <dgm:t>
        <a:bodyPr/>
        <a:lstStyle/>
        <a:p>
          <a:endParaRPr lang="en-US"/>
        </a:p>
      </dgm:t>
    </dgm:pt>
    <dgm:pt modelId="{33653C30-F92E-4D99-A7C0-406BE962235C}" type="sibTrans" cxnId="{EC23066C-0C02-4E67-91F4-AA372C2E0416}">
      <dgm:prSet/>
      <dgm:spPr/>
      <dgm:t>
        <a:bodyPr/>
        <a:lstStyle/>
        <a:p>
          <a:pPr>
            <a:lnSpc>
              <a:spcPct val="100000"/>
            </a:lnSpc>
          </a:pPr>
          <a:endParaRPr lang="en-US"/>
        </a:p>
      </dgm:t>
    </dgm:pt>
    <dgm:pt modelId="{7E1CED9D-161B-4646-80CC-F2EF06773043}">
      <dgm:prSet/>
      <dgm:spPr/>
      <dgm:t>
        <a:bodyPr/>
        <a:lstStyle/>
        <a:p>
          <a:pPr>
            <a:lnSpc>
              <a:spcPct val="100000"/>
            </a:lnSpc>
          </a:pPr>
          <a:r>
            <a:rPr lang="nb-NO" dirty="0">
              <a:hlinkClick xmlns:r="http://schemas.openxmlformats.org/officeDocument/2006/relationships" r:id="rId1"/>
            </a:rPr>
            <a:t>mette.elling@gmail.com</a:t>
          </a:r>
          <a:r>
            <a:rPr lang="nb-NO" dirty="0"/>
            <a:t> </a:t>
          </a:r>
        </a:p>
      </dgm:t>
    </dgm:pt>
    <dgm:pt modelId="{C11CE576-552A-4FAE-8FA2-4769D248828F}" type="parTrans" cxnId="{8EC8DACA-EDBF-4FF3-A9FF-E88F71B734BD}">
      <dgm:prSet/>
      <dgm:spPr/>
      <dgm:t>
        <a:bodyPr/>
        <a:lstStyle/>
        <a:p>
          <a:endParaRPr lang="en-US"/>
        </a:p>
      </dgm:t>
    </dgm:pt>
    <dgm:pt modelId="{FA157A60-5375-4814-8806-4B76D012C474}" type="sibTrans" cxnId="{8EC8DACA-EDBF-4FF3-A9FF-E88F71B734BD}">
      <dgm:prSet/>
      <dgm:spPr/>
      <dgm:t>
        <a:bodyPr/>
        <a:lstStyle/>
        <a:p>
          <a:pPr>
            <a:lnSpc>
              <a:spcPct val="100000"/>
            </a:lnSpc>
          </a:pPr>
          <a:endParaRPr lang="en-US"/>
        </a:p>
      </dgm:t>
    </dgm:pt>
    <dgm:pt modelId="{685DCC47-E5ED-46FB-A607-350E1538517B}">
      <dgm:prSet/>
      <dgm:spPr/>
      <dgm:t>
        <a:bodyPr/>
        <a:lstStyle/>
        <a:p>
          <a:pPr>
            <a:lnSpc>
              <a:spcPct val="100000"/>
            </a:lnSpc>
          </a:pPr>
          <a:r>
            <a:rPr lang="nb-NO" dirty="0">
              <a:hlinkClick xmlns:r="http://schemas.openxmlformats.org/officeDocument/2006/relationships" r:id="rId2"/>
            </a:rPr>
            <a:t>petemcgovern@me.com</a:t>
          </a:r>
          <a:endParaRPr lang="en-US" dirty="0"/>
        </a:p>
      </dgm:t>
    </dgm:pt>
    <dgm:pt modelId="{1C2C3E3E-AFBC-4F8F-ADBD-D4B2274DB43C}" type="parTrans" cxnId="{526A0B9F-B586-48C1-A324-56449A1BEBEF}">
      <dgm:prSet/>
      <dgm:spPr/>
      <dgm:t>
        <a:bodyPr/>
        <a:lstStyle/>
        <a:p>
          <a:endParaRPr lang="en-US"/>
        </a:p>
      </dgm:t>
    </dgm:pt>
    <dgm:pt modelId="{3919DBDF-239F-4A9E-8E2B-4C79E94F877C}" type="sibTrans" cxnId="{526A0B9F-B586-48C1-A324-56449A1BEBEF}">
      <dgm:prSet/>
      <dgm:spPr/>
      <dgm:t>
        <a:bodyPr/>
        <a:lstStyle/>
        <a:p>
          <a:endParaRPr lang="en-US"/>
        </a:p>
      </dgm:t>
    </dgm:pt>
    <dgm:pt modelId="{71204770-E636-48BA-A591-620D7C7992C9}" type="pres">
      <dgm:prSet presAssocID="{0A94F898-9DA3-4846-A3AC-DFF38948A532}" presName="root" presStyleCnt="0">
        <dgm:presLayoutVars>
          <dgm:dir/>
          <dgm:resizeHandles val="exact"/>
        </dgm:presLayoutVars>
      </dgm:prSet>
      <dgm:spPr/>
    </dgm:pt>
    <dgm:pt modelId="{B5511740-0757-4909-AF0D-07399EEF19EE}" type="pres">
      <dgm:prSet presAssocID="{F4DF2856-8F4E-4A20-8630-4D8DE0FC0918}" presName="compNode" presStyleCnt="0"/>
      <dgm:spPr/>
    </dgm:pt>
    <dgm:pt modelId="{8BCEA645-5665-41FE-B903-B2AB2D6FF459}" type="pres">
      <dgm:prSet presAssocID="{F4DF2856-8F4E-4A20-8630-4D8DE0FC0918}" presName="iconRect" presStyleLbl="node1" presStyleIdx="0"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Subtitles"/>
        </a:ext>
      </dgm:extLst>
    </dgm:pt>
    <dgm:pt modelId="{B01BDA35-0622-42F1-999A-C2AB1A06819C}" type="pres">
      <dgm:prSet presAssocID="{F4DF2856-8F4E-4A20-8630-4D8DE0FC0918}" presName="spaceRect" presStyleCnt="0"/>
      <dgm:spPr/>
    </dgm:pt>
    <dgm:pt modelId="{84285468-2F5F-4831-9A70-ED6460FE006C}" type="pres">
      <dgm:prSet presAssocID="{F4DF2856-8F4E-4A20-8630-4D8DE0FC0918}" presName="textRect" presStyleLbl="revTx" presStyleIdx="0" presStyleCnt="3">
        <dgm:presLayoutVars>
          <dgm:chMax val="1"/>
          <dgm:chPref val="1"/>
        </dgm:presLayoutVars>
      </dgm:prSet>
      <dgm:spPr/>
    </dgm:pt>
    <dgm:pt modelId="{C207423A-CCC5-4C8C-B94E-27C0B4CFEADA}" type="pres">
      <dgm:prSet presAssocID="{33653C30-F92E-4D99-A7C0-406BE962235C}" presName="sibTrans" presStyleCnt="0"/>
      <dgm:spPr/>
    </dgm:pt>
    <dgm:pt modelId="{68C3A537-DD9C-4D5C-B68A-28B9DF3DD7EB}" type="pres">
      <dgm:prSet presAssocID="{7E1CED9D-161B-4646-80CC-F2EF06773043}" presName="compNode" presStyleCnt="0"/>
      <dgm:spPr/>
    </dgm:pt>
    <dgm:pt modelId="{E14EFE33-6DF4-4AAC-84D3-F2F5B2550D6C}" type="pres">
      <dgm:prSet presAssocID="{7E1CED9D-161B-4646-80CC-F2EF06773043}" presName="iconRect" presStyleLbl="node1" presStyleIdx="1"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Email"/>
        </a:ext>
      </dgm:extLst>
    </dgm:pt>
    <dgm:pt modelId="{4F7B0746-F084-46B5-99E9-3202269E0C73}" type="pres">
      <dgm:prSet presAssocID="{7E1CED9D-161B-4646-80CC-F2EF06773043}" presName="spaceRect" presStyleCnt="0"/>
      <dgm:spPr/>
    </dgm:pt>
    <dgm:pt modelId="{7D2FA402-3EBA-4FE6-9624-ADCFAA189315}" type="pres">
      <dgm:prSet presAssocID="{7E1CED9D-161B-4646-80CC-F2EF06773043}" presName="textRect" presStyleLbl="revTx" presStyleIdx="1" presStyleCnt="3">
        <dgm:presLayoutVars>
          <dgm:chMax val="1"/>
          <dgm:chPref val="1"/>
        </dgm:presLayoutVars>
      </dgm:prSet>
      <dgm:spPr/>
    </dgm:pt>
    <dgm:pt modelId="{E2DED508-C21F-49FD-9D46-1D9079716E65}" type="pres">
      <dgm:prSet presAssocID="{FA157A60-5375-4814-8806-4B76D012C474}" presName="sibTrans" presStyleCnt="0"/>
      <dgm:spPr/>
    </dgm:pt>
    <dgm:pt modelId="{68934A39-BCF1-4128-9CD9-3D5F11EE572B}" type="pres">
      <dgm:prSet presAssocID="{685DCC47-E5ED-46FB-A607-350E1538517B}" presName="compNode" presStyleCnt="0"/>
      <dgm:spPr/>
    </dgm:pt>
    <dgm:pt modelId="{4DA172A7-BE84-49EC-BA6C-2FF9CA100C5D}" type="pres">
      <dgm:prSet presAssocID="{685DCC47-E5ED-46FB-A607-350E1538517B}" presName="iconRect" presStyleLbl="node1" presStyleIdx="2" presStyleCnt="3"/>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Envelope"/>
        </a:ext>
      </dgm:extLst>
    </dgm:pt>
    <dgm:pt modelId="{EDCC8CF2-97E9-4947-B459-93914D5FD67F}" type="pres">
      <dgm:prSet presAssocID="{685DCC47-E5ED-46FB-A607-350E1538517B}" presName="spaceRect" presStyleCnt="0"/>
      <dgm:spPr/>
    </dgm:pt>
    <dgm:pt modelId="{6BE8C99F-782F-4E6A-B6AD-D2E893783446}" type="pres">
      <dgm:prSet presAssocID="{685DCC47-E5ED-46FB-A607-350E1538517B}" presName="textRect" presStyleLbl="revTx" presStyleIdx="2" presStyleCnt="3">
        <dgm:presLayoutVars>
          <dgm:chMax val="1"/>
          <dgm:chPref val="1"/>
        </dgm:presLayoutVars>
      </dgm:prSet>
      <dgm:spPr/>
    </dgm:pt>
  </dgm:ptLst>
  <dgm:cxnLst>
    <dgm:cxn modelId="{AE75E73D-9BE4-1D4A-AD1D-620B6742BB3A}" type="presOf" srcId="{685DCC47-E5ED-46FB-A607-350E1538517B}" destId="{6BE8C99F-782F-4E6A-B6AD-D2E893783446}" srcOrd="0" destOrd="0" presId="urn:microsoft.com/office/officeart/2018/2/layout/IconLabelList"/>
    <dgm:cxn modelId="{EC23066C-0C02-4E67-91F4-AA372C2E0416}" srcId="{0A94F898-9DA3-4846-A3AC-DFF38948A532}" destId="{F4DF2856-8F4E-4A20-8630-4D8DE0FC0918}" srcOrd="0" destOrd="0" parTransId="{62A91665-2836-46EA-8302-C09879924D62}" sibTransId="{33653C30-F92E-4D99-A7C0-406BE962235C}"/>
    <dgm:cxn modelId="{A888844E-8178-4F41-B291-358B27D54560}" type="presOf" srcId="{7E1CED9D-161B-4646-80CC-F2EF06773043}" destId="{7D2FA402-3EBA-4FE6-9624-ADCFAA189315}" srcOrd="0" destOrd="0" presId="urn:microsoft.com/office/officeart/2018/2/layout/IconLabelList"/>
    <dgm:cxn modelId="{526A0B9F-B586-48C1-A324-56449A1BEBEF}" srcId="{0A94F898-9DA3-4846-A3AC-DFF38948A532}" destId="{685DCC47-E5ED-46FB-A607-350E1538517B}" srcOrd="2" destOrd="0" parTransId="{1C2C3E3E-AFBC-4F8F-ADBD-D4B2274DB43C}" sibTransId="{3919DBDF-239F-4A9E-8E2B-4C79E94F877C}"/>
    <dgm:cxn modelId="{4B3B46C2-3879-9B40-9ED5-EE7B6DB0FAC1}" type="presOf" srcId="{F4DF2856-8F4E-4A20-8630-4D8DE0FC0918}" destId="{84285468-2F5F-4831-9A70-ED6460FE006C}" srcOrd="0" destOrd="0" presId="urn:microsoft.com/office/officeart/2018/2/layout/IconLabelList"/>
    <dgm:cxn modelId="{8EC8DACA-EDBF-4FF3-A9FF-E88F71B734BD}" srcId="{0A94F898-9DA3-4846-A3AC-DFF38948A532}" destId="{7E1CED9D-161B-4646-80CC-F2EF06773043}" srcOrd="1" destOrd="0" parTransId="{C11CE576-552A-4FAE-8FA2-4769D248828F}" sibTransId="{FA157A60-5375-4814-8806-4B76D012C474}"/>
    <dgm:cxn modelId="{73C2FAFF-A4E6-F64A-814B-F83CD91CEE37}" type="presOf" srcId="{0A94F898-9DA3-4846-A3AC-DFF38948A532}" destId="{71204770-E636-48BA-A591-620D7C7992C9}" srcOrd="0" destOrd="0" presId="urn:microsoft.com/office/officeart/2018/2/layout/IconLabelList"/>
    <dgm:cxn modelId="{A76D6F20-40E4-DF45-AD65-42AF53DE572A}" type="presParOf" srcId="{71204770-E636-48BA-A591-620D7C7992C9}" destId="{B5511740-0757-4909-AF0D-07399EEF19EE}" srcOrd="0" destOrd="0" presId="urn:microsoft.com/office/officeart/2018/2/layout/IconLabelList"/>
    <dgm:cxn modelId="{089EC9D1-866B-8B48-85A8-0F56CAD452A7}" type="presParOf" srcId="{B5511740-0757-4909-AF0D-07399EEF19EE}" destId="{8BCEA645-5665-41FE-B903-B2AB2D6FF459}" srcOrd="0" destOrd="0" presId="urn:microsoft.com/office/officeart/2018/2/layout/IconLabelList"/>
    <dgm:cxn modelId="{140B4007-92FE-B044-B852-3F944D302193}" type="presParOf" srcId="{B5511740-0757-4909-AF0D-07399EEF19EE}" destId="{B01BDA35-0622-42F1-999A-C2AB1A06819C}" srcOrd="1" destOrd="0" presId="urn:microsoft.com/office/officeart/2018/2/layout/IconLabelList"/>
    <dgm:cxn modelId="{65CDF290-0455-ED40-9110-69D21A47BC79}" type="presParOf" srcId="{B5511740-0757-4909-AF0D-07399EEF19EE}" destId="{84285468-2F5F-4831-9A70-ED6460FE006C}" srcOrd="2" destOrd="0" presId="urn:microsoft.com/office/officeart/2018/2/layout/IconLabelList"/>
    <dgm:cxn modelId="{2697E786-1A85-B445-913B-2BFE8300A2CB}" type="presParOf" srcId="{71204770-E636-48BA-A591-620D7C7992C9}" destId="{C207423A-CCC5-4C8C-B94E-27C0B4CFEADA}" srcOrd="1" destOrd="0" presId="urn:microsoft.com/office/officeart/2018/2/layout/IconLabelList"/>
    <dgm:cxn modelId="{2A8586EC-EE3B-494E-B595-02210BDF8242}" type="presParOf" srcId="{71204770-E636-48BA-A591-620D7C7992C9}" destId="{68C3A537-DD9C-4D5C-B68A-28B9DF3DD7EB}" srcOrd="2" destOrd="0" presId="urn:microsoft.com/office/officeart/2018/2/layout/IconLabelList"/>
    <dgm:cxn modelId="{81EC7372-3805-AA44-9EFA-C55E5C395A89}" type="presParOf" srcId="{68C3A537-DD9C-4D5C-B68A-28B9DF3DD7EB}" destId="{E14EFE33-6DF4-4AAC-84D3-F2F5B2550D6C}" srcOrd="0" destOrd="0" presId="urn:microsoft.com/office/officeart/2018/2/layout/IconLabelList"/>
    <dgm:cxn modelId="{868E7544-EDF8-F54B-96FE-8E40997A9B50}" type="presParOf" srcId="{68C3A537-DD9C-4D5C-B68A-28B9DF3DD7EB}" destId="{4F7B0746-F084-46B5-99E9-3202269E0C73}" srcOrd="1" destOrd="0" presId="urn:microsoft.com/office/officeart/2018/2/layout/IconLabelList"/>
    <dgm:cxn modelId="{87A08286-1500-0047-A930-74718F940668}" type="presParOf" srcId="{68C3A537-DD9C-4D5C-B68A-28B9DF3DD7EB}" destId="{7D2FA402-3EBA-4FE6-9624-ADCFAA189315}" srcOrd="2" destOrd="0" presId="urn:microsoft.com/office/officeart/2018/2/layout/IconLabelList"/>
    <dgm:cxn modelId="{C9F95414-9B43-0945-BE25-AFB1A55B9F49}" type="presParOf" srcId="{71204770-E636-48BA-A591-620D7C7992C9}" destId="{E2DED508-C21F-49FD-9D46-1D9079716E65}" srcOrd="3" destOrd="0" presId="urn:microsoft.com/office/officeart/2018/2/layout/IconLabelList"/>
    <dgm:cxn modelId="{722ACAF3-57D2-8147-AC9E-DB8603475A0E}" type="presParOf" srcId="{71204770-E636-48BA-A591-620D7C7992C9}" destId="{68934A39-BCF1-4128-9CD9-3D5F11EE572B}" srcOrd="4" destOrd="0" presId="urn:microsoft.com/office/officeart/2018/2/layout/IconLabelList"/>
    <dgm:cxn modelId="{3EE36C89-ED3E-934B-9016-732C59388232}" type="presParOf" srcId="{68934A39-BCF1-4128-9CD9-3D5F11EE572B}" destId="{4DA172A7-BE84-49EC-BA6C-2FF9CA100C5D}" srcOrd="0" destOrd="0" presId="urn:microsoft.com/office/officeart/2018/2/layout/IconLabelList"/>
    <dgm:cxn modelId="{0C3DAFA7-B375-F34E-8E13-0F39F21E8047}" type="presParOf" srcId="{68934A39-BCF1-4128-9CD9-3D5F11EE572B}" destId="{EDCC8CF2-97E9-4947-B459-93914D5FD67F}" srcOrd="1" destOrd="0" presId="urn:microsoft.com/office/officeart/2018/2/layout/IconLabelList"/>
    <dgm:cxn modelId="{A13E9C56-1440-1641-8EE4-9487DCACA85B}" type="presParOf" srcId="{68934A39-BCF1-4128-9CD9-3D5F11EE572B}" destId="{6BE8C99F-782F-4E6A-B6AD-D2E893783446}"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CEA645-5665-41FE-B903-B2AB2D6FF459}">
      <dsp:nvSpPr>
        <dsp:cNvPr id="0" name=""/>
        <dsp:cNvSpPr/>
      </dsp:nvSpPr>
      <dsp:spPr>
        <a:xfrm>
          <a:off x="1212569" y="987197"/>
          <a:ext cx="1300252" cy="130025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4285468-2F5F-4831-9A70-ED6460FE006C}">
      <dsp:nvSpPr>
        <dsp:cNvPr id="0" name=""/>
        <dsp:cNvSpPr/>
      </dsp:nvSpPr>
      <dsp:spPr>
        <a:xfrm>
          <a:off x="417971" y="2644140"/>
          <a:ext cx="28894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77900">
            <a:lnSpc>
              <a:spcPct val="100000"/>
            </a:lnSpc>
            <a:spcBef>
              <a:spcPct val="0"/>
            </a:spcBef>
            <a:spcAft>
              <a:spcPct val="35000"/>
            </a:spcAft>
            <a:buNone/>
          </a:pPr>
          <a:r>
            <a:rPr lang="nb-NO" sz="2200" kern="1200"/>
            <a:t>Questions / comments?</a:t>
          </a:r>
          <a:endParaRPr lang="en-US" sz="2200" kern="1200"/>
        </a:p>
      </dsp:txBody>
      <dsp:txXfrm>
        <a:off x="417971" y="2644140"/>
        <a:ext cx="2889450" cy="720000"/>
      </dsp:txXfrm>
    </dsp:sp>
    <dsp:sp modelId="{E14EFE33-6DF4-4AAC-84D3-F2F5B2550D6C}">
      <dsp:nvSpPr>
        <dsp:cNvPr id="0" name=""/>
        <dsp:cNvSpPr/>
      </dsp:nvSpPr>
      <dsp:spPr>
        <a:xfrm>
          <a:off x="4607673" y="987197"/>
          <a:ext cx="1300252" cy="130025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D2FA402-3EBA-4FE6-9624-ADCFAA189315}">
      <dsp:nvSpPr>
        <dsp:cNvPr id="0" name=""/>
        <dsp:cNvSpPr/>
      </dsp:nvSpPr>
      <dsp:spPr>
        <a:xfrm>
          <a:off x="3813075" y="2644140"/>
          <a:ext cx="28894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77900">
            <a:lnSpc>
              <a:spcPct val="100000"/>
            </a:lnSpc>
            <a:spcBef>
              <a:spcPct val="0"/>
            </a:spcBef>
            <a:spcAft>
              <a:spcPct val="35000"/>
            </a:spcAft>
            <a:buNone/>
          </a:pPr>
          <a:r>
            <a:rPr lang="nb-NO" sz="2200" kern="1200" dirty="0">
              <a:hlinkClick xmlns:r="http://schemas.openxmlformats.org/officeDocument/2006/relationships" r:id="rId5"/>
            </a:rPr>
            <a:t>mette.elling@gmail.com</a:t>
          </a:r>
          <a:r>
            <a:rPr lang="nb-NO" sz="2200" kern="1200" dirty="0"/>
            <a:t> </a:t>
          </a:r>
        </a:p>
      </dsp:txBody>
      <dsp:txXfrm>
        <a:off x="3813075" y="2644140"/>
        <a:ext cx="2889450" cy="720000"/>
      </dsp:txXfrm>
    </dsp:sp>
    <dsp:sp modelId="{4DA172A7-BE84-49EC-BA6C-2FF9CA100C5D}">
      <dsp:nvSpPr>
        <dsp:cNvPr id="0" name=""/>
        <dsp:cNvSpPr/>
      </dsp:nvSpPr>
      <dsp:spPr>
        <a:xfrm>
          <a:off x="8002777" y="987197"/>
          <a:ext cx="1300252" cy="1300252"/>
        </a:xfrm>
        <a:prstGeom prst="rect">
          <a:avLst/>
        </a:prstGeom>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BE8C99F-782F-4E6A-B6AD-D2E893783446}">
      <dsp:nvSpPr>
        <dsp:cNvPr id="0" name=""/>
        <dsp:cNvSpPr/>
      </dsp:nvSpPr>
      <dsp:spPr>
        <a:xfrm>
          <a:off x="7208178" y="2644140"/>
          <a:ext cx="28894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77900">
            <a:lnSpc>
              <a:spcPct val="100000"/>
            </a:lnSpc>
            <a:spcBef>
              <a:spcPct val="0"/>
            </a:spcBef>
            <a:spcAft>
              <a:spcPct val="35000"/>
            </a:spcAft>
            <a:buNone/>
          </a:pPr>
          <a:r>
            <a:rPr lang="nb-NO" sz="2200" kern="1200" dirty="0">
              <a:hlinkClick xmlns:r="http://schemas.openxmlformats.org/officeDocument/2006/relationships" r:id="rId8"/>
            </a:rPr>
            <a:t>petemcgovern@me.com</a:t>
          </a:r>
          <a:endParaRPr lang="en-US" sz="2200" kern="1200" dirty="0"/>
        </a:p>
      </dsp:txBody>
      <dsp:txXfrm>
        <a:off x="7208178" y="2644140"/>
        <a:ext cx="2889450" cy="720000"/>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5705" tIns="47853" rIns="95705" bIns="47853" rtlCol="0"/>
          <a:lstStyle>
            <a:lvl1pPr algn="l">
              <a:defRPr sz="1300"/>
            </a:lvl1pPr>
          </a:lstStyle>
          <a:p>
            <a:endParaRPr lang="en-GB"/>
          </a:p>
        </p:txBody>
      </p:sp>
      <p:sp>
        <p:nvSpPr>
          <p:cNvPr id="3" name="Date Placeholder 2"/>
          <p:cNvSpPr>
            <a:spLocks noGrp="1"/>
          </p:cNvSpPr>
          <p:nvPr>
            <p:ph type="dt" sz="quarter" idx="1"/>
          </p:nvPr>
        </p:nvSpPr>
        <p:spPr>
          <a:xfrm>
            <a:off x="3856738" y="0"/>
            <a:ext cx="2950475" cy="498773"/>
          </a:xfrm>
          <a:prstGeom prst="rect">
            <a:avLst/>
          </a:prstGeom>
        </p:spPr>
        <p:txBody>
          <a:bodyPr vert="horz" lIns="95705" tIns="47853" rIns="95705" bIns="47853" rtlCol="0"/>
          <a:lstStyle>
            <a:lvl1pPr algn="r">
              <a:defRPr sz="1300"/>
            </a:lvl1pPr>
          </a:lstStyle>
          <a:p>
            <a:fld id="{B1875CDD-E462-4D05-8E51-5BB28922514F}" type="datetimeFigureOut">
              <a:rPr lang="en-GB" smtClean="0"/>
              <a:t>01/06/2022</a:t>
            </a:fld>
            <a:endParaRPr lang="en-GB"/>
          </a:p>
        </p:txBody>
      </p:sp>
      <p:sp>
        <p:nvSpPr>
          <p:cNvPr id="4" name="Footer Placeholder 3"/>
          <p:cNvSpPr>
            <a:spLocks noGrp="1"/>
          </p:cNvSpPr>
          <p:nvPr>
            <p:ph type="ftr" sz="quarter" idx="2"/>
          </p:nvPr>
        </p:nvSpPr>
        <p:spPr>
          <a:xfrm>
            <a:off x="0" y="9442156"/>
            <a:ext cx="2950475" cy="498772"/>
          </a:xfrm>
          <a:prstGeom prst="rect">
            <a:avLst/>
          </a:prstGeom>
        </p:spPr>
        <p:txBody>
          <a:bodyPr vert="horz" lIns="95705" tIns="47853" rIns="95705" bIns="47853" rtlCol="0" anchor="b"/>
          <a:lstStyle>
            <a:lvl1pPr algn="l">
              <a:defRPr sz="1300"/>
            </a:lvl1pPr>
          </a:lstStyle>
          <a:p>
            <a:endParaRPr lang="en-GB"/>
          </a:p>
        </p:txBody>
      </p:sp>
      <p:sp>
        <p:nvSpPr>
          <p:cNvPr id="5" name="Slide Number Placeholder 4"/>
          <p:cNvSpPr>
            <a:spLocks noGrp="1"/>
          </p:cNvSpPr>
          <p:nvPr>
            <p:ph type="sldNum" sz="quarter" idx="3"/>
          </p:nvPr>
        </p:nvSpPr>
        <p:spPr>
          <a:xfrm>
            <a:off x="3856738" y="9442156"/>
            <a:ext cx="2950475" cy="498772"/>
          </a:xfrm>
          <a:prstGeom prst="rect">
            <a:avLst/>
          </a:prstGeom>
        </p:spPr>
        <p:txBody>
          <a:bodyPr vert="horz" lIns="95705" tIns="47853" rIns="95705" bIns="47853" rtlCol="0" anchor="b"/>
          <a:lstStyle>
            <a:lvl1pPr algn="r">
              <a:defRPr sz="1300"/>
            </a:lvl1pPr>
          </a:lstStyle>
          <a:p>
            <a:fld id="{117AC3D9-9B3F-4360-932E-A90D2E48C150}" type="slidenum">
              <a:rPr lang="en-GB" smtClean="0"/>
              <a:t>‹#›</a:t>
            </a:fld>
            <a:endParaRPr lang="en-GB"/>
          </a:p>
        </p:txBody>
      </p:sp>
    </p:spTree>
    <p:extLst>
      <p:ext uri="{BB962C8B-B14F-4D97-AF65-F5344CB8AC3E}">
        <p14:creationId xmlns:p14="http://schemas.microsoft.com/office/powerpoint/2010/main" val="37407836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5705" tIns="47853" rIns="95705" bIns="47853" rtlCol="0"/>
          <a:lstStyle>
            <a:lvl1pPr algn="l">
              <a:defRPr sz="1300"/>
            </a:lvl1pPr>
          </a:lstStyle>
          <a:p>
            <a:endParaRPr lang="en-GB"/>
          </a:p>
        </p:txBody>
      </p:sp>
      <p:sp>
        <p:nvSpPr>
          <p:cNvPr id="3" name="Date Placeholder 2"/>
          <p:cNvSpPr>
            <a:spLocks noGrp="1"/>
          </p:cNvSpPr>
          <p:nvPr>
            <p:ph type="dt" idx="1"/>
          </p:nvPr>
        </p:nvSpPr>
        <p:spPr>
          <a:xfrm>
            <a:off x="3856738" y="0"/>
            <a:ext cx="2950475" cy="498773"/>
          </a:xfrm>
          <a:prstGeom prst="rect">
            <a:avLst/>
          </a:prstGeom>
        </p:spPr>
        <p:txBody>
          <a:bodyPr vert="horz" lIns="95705" tIns="47853" rIns="95705" bIns="47853" rtlCol="0"/>
          <a:lstStyle>
            <a:lvl1pPr algn="r">
              <a:defRPr sz="1300"/>
            </a:lvl1pPr>
          </a:lstStyle>
          <a:p>
            <a:fld id="{1919DF5D-3936-4339-8B0B-D45B2ABD2C70}" type="datetimeFigureOut">
              <a:rPr lang="en-GB" smtClean="0"/>
              <a:t>01/06/2022</a:t>
            </a:fld>
            <a:endParaRPr lang="en-GB"/>
          </a:p>
        </p:txBody>
      </p:sp>
      <p:sp>
        <p:nvSpPr>
          <p:cNvPr id="4" name="Slide Image Placeholder 3"/>
          <p:cNvSpPr>
            <a:spLocks noGrp="1" noRot="1" noChangeAspect="1"/>
          </p:cNvSpPr>
          <p:nvPr>
            <p:ph type="sldImg" idx="2"/>
          </p:nvPr>
        </p:nvSpPr>
        <p:spPr>
          <a:xfrm>
            <a:off x="422275" y="1243013"/>
            <a:ext cx="5964238" cy="3354387"/>
          </a:xfrm>
          <a:prstGeom prst="rect">
            <a:avLst/>
          </a:prstGeom>
          <a:noFill/>
          <a:ln w="12700">
            <a:solidFill>
              <a:prstClr val="black"/>
            </a:solidFill>
          </a:ln>
        </p:spPr>
        <p:txBody>
          <a:bodyPr vert="horz" lIns="95705" tIns="47853" rIns="95705" bIns="47853" rtlCol="0" anchor="ctr"/>
          <a:lstStyle/>
          <a:p>
            <a:endParaRPr lang="en-GB"/>
          </a:p>
        </p:txBody>
      </p:sp>
      <p:sp>
        <p:nvSpPr>
          <p:cNvPr id="5" name="Notes Placeholder 4"/>
          <p:cNvSpPr>
            <a:spLocks noGrp="1"/>
          </p:cNvSpPr>
          <p:nvPr>
            <p:ph type="body" sz="quarter" idx="3"/>
          </p:nvPr>
        </p:nvSpPr>
        <p:spPr>
          <a:xfrm>
            <a:off x="680880" y="4784069"/>
            <a:ext cx="5447030" cy="3914240"/>
          </a:xfrm>
          <a:prstGeom prst="rect">
            <a:avLst/>
          </a:prstGeom>
        </p:spPr>
        <p:txBody>
          <a:bodyPr vert="horz" lIns="95705" tIns="47853" rIns="95705" bIns="47853"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2156"/>
            <a:ext cx="2950475" cy="498772"/>
          </a:xfrm>
          <a:prstGeom prst="rect">
            <a:avLst/>
          </a:prstGeom>
        </p:spPr>
        <p:txBody>
          <a:bodyPr vert="horz" lIns="95705" tIns="47853" rIns="95705" bIns="47853" rtlCol="0" anchor="b"/>
          <a:lstStyle>
            <a:lvl1pPr algn="l">
              <a:defRPr sz="1300"/>
            </a:lvl1pPr>
          </a:lstStyle>
          <a:p>
            <a:endParaRPr lang="en-GB"/>
          </a:p>
        </p:txBody>
      </p:sp>
      <p:sp>
        <p:nvSpPr>
          <p:cNvPr id="7" name="Slide Number Placeholder 6"/>
          <p:cNvSpPr>
            <a:spLocks noGrp="1"/>
          </p:cNvSpPr>
          <p:nvPr>
            <p:ph type="sldNum" sz="quarter" idx="5"/>
          </p:nvPr>
        </p:nvSpPr>
        <p:spPr>
          <a:xfrm>
            <a:off x="3856738" y="9442156"/>
            <a:ext cx="2950475" cy="498772"/>
          </a:xfrm>
          <a:prstGeom prst="rect">
            <a:avLst/>
          </a:prstGeom>
        </p:spPr>
        <p:txBody>
          <a:bodyPr vert="horz" lIns="95705" tIns="47853" rIns="95705" bIns="47853" rtlCol="0" anchor="b"/>
          <a:lstStyle>
            <a:lvl1pPr algn="r">
              <a:defRPr sz="1300"/>
            </a:lvl1pPr>
          </a:lstStyle>
          <a:p>
            <a:fld id="{91600A8A-902E-430E-A833-453AE05FDB61}" type="slidenum">
              <a:rPr lang="en-GB" smtClean="0"/>
              <a:t>‹#›</a:t>
            </a:fld>
            <a:endParaRPr lang="en-GB"/>
          </a:p>
        </p:txBody>
      </p:sp>
    </p:spTree>
    <p:extLst>
      <p:ext uri="{BB962C8B-B14F-4D97-AF65-F5344CB8AC3E}">
        <p14:creationId xmlns:p14="http://schemas.microsoft.com/office/powerpoint/2010/main" val="1469557427"/>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1pPr>
    <a:lvl2pPr marL="2286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2pPr>
    <a:lvl3pPr marL="4572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3pPr>
    <a:lvl4pPr marL="6858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4pPr>
    <a:lvl5pPr marL="9144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ap.ohchr.org/documents/dpage_e.aspx?si=A/HRC/35/21"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who.int/mental_health/policy/quality_rights/en/"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who.int/mental_health/policy/quality_rights/en/"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1600A8A-902E-430E-A833-453AE05FDB61}" type="slidenum">
              <a:rPr lang="en-GB" smtClean="0"/>
              <a:t>1</a:t>
            </a:fld>
            <a:endParaRPr lang="en-GB"/>
          </a:p>
        </p:txBody>
      </p:sp>
    </p:spTree>
    <p:extLst>
      <p:ext uri="{BB962C8B-B14F-4D97-AF65-F5344CB8AC3E}">
        <p14:creationId xmlns:p14="http://schemas.microsoft.com/office/powerpoint/2010/main" val="32516500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A70AF2-C819-47A0-A399-EA1272036C6D}"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90894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2225" y="465138"/>
            <a:ext cx="3621088" cy="2038350"/>
          </a:xfrm>
        </p:spPr>
      </p:sp>
      <p:sp>
        <p:nvSpPr>
          <p:cNvPr id="3" name="Notes Placeholder 2"/>
          <p:cNvSpPr>
            <a:spLocks noGrp="1"/>
          </p:cNvSpPr>
          <p:nvPr>
            <p:ph type="body" idx="1"/>
          </p:nvPr>
        </p:nvSpPr>
        <p:spPr>
          <a:xfrm>
            <a:off x="165220" y="2584937"/>
            <a:ext cx="6527561" cy="6093657"/>
          </a:xfrm>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E4EDF-F338-444F-86EE-3985E46612C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32663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xfrm>
            <a:off x="1106488" y="509588"/>
            <a:ext cx="4108450" cy="2311400"/>
          </a:xfrm>
          <a:ln/>
        </p:spPr>
      </p:sp>
      <p:sp>
        <p:nvSpPr>
          <p:cNvPr id="39939" name="Notes Placeholder 2"/>
          <p:cNvSpPr>
            <a:spLocks noGrp="1"/>
          </p:cNvSpPr>
          <p:nvPr>
            <p:ph type="body" idx="1"/>
          </p:nvPr>
        </p:nvSpPr>
        <p:spPr>
          <a:xfrm>
            <a:off x="535259" y="2988527"/>
            <a:ext cx="5319131" cy="6144322"/>
          </a:xfrm>
        </p:spPr>
        <p:txBody>
          <a:bodyPr/>
          <a:lstStyle/>
          <a:p>
            <a:pPr algn="just"/>
            <a:r>
              <a:rPr lang="en-US" sz="1200" dirty="0">
                <a:effectLst/>
                <a:latin typeface="Calibri" panose="020F0502020204030204" pitchFamily="34" charset="0"/>
                <a:ea typeface="Calibri" panose="020F0502020204030204" pitchFamily="34" charset="0"/>
                <a:cs typeface="Times New Roman" panose="02020603050405020304" pitchFamily="18" charset="0"/>
              </a:rPr>
              <a:t>On April 12 this year, Dr Tedros, Director General of the World Health Organization launched the new WHO QualityRights e-training on mental health, recovery and community inclusion, together with Dr Michelle Bachelet, the UN High Commissioner for Human Rights, several Ministers of Health and other high-level representatives.</a:t>
            </a:r>
          </a:p>
          <a:p>
            <a:pPr>
              <a:defRPr/>
            </a:pPr>
            <a:endParaRPr lang="en-US" altLang="en-US" sz="1200" dirty="0">
              <a:latin typeface="+mn-lt"/>
            </a:endParaRPr>
          </a:p>
          <a:p>
            <a:pPr>
              <a:defRPr/>
            </a:pPr>
            <a:r>
              <a:rPr lang="en-US" altLang="en-US" sz="1200" dirty="0">
                <a:latin typeface="+mn-lt"/>
              </a:rPr>
              <a:t>Through the e-training WHO aims to build capacity and change mindsets and practices on a massive scale in order to end stigma and discrimination and promote rights, recovery and inclusion in the area of mental health.</a:t>
            </a:r>
          </a:p>
          <a:p>
            <a:pPr>
              <a:defRPr/>
            </a:pPr>
            <a:endParaRPr lang="en-US" altLang="en-US" sz="1200" dirty="0">
              <a:latin typeface="+mn-lt"/>
            </a:endParaRPr>
          </a:p>
          <a:p>
            <a:pPr marL="0" marR="0" lvl="0" indent="0" algn="l" defTabSz="897016" rtl="0" eaLnBrk="0" fontAlgn="base" latinLnBrk="0" hangingPunct="0">
              <a:lnSpc>
                <a:spcPct val="100000"/>
              </a:lnSpc>
              <a:spcBef>
                <a:spcPct val="0"/>
              </a:spcBef>
              <a:spcAft>
                <a:spcPct val="0"/>
              </a:spcAft>
              <a:buClr>
                <a:schemeClr val="tx2"/>
              </a:buClr>
              <a:buSzTx/>
              <a:buFontTx/>
              <a:buNone/>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e-training is available free of cost and open to all people.</a:t>
            </a:r>
          </a:p>
          <a:p>
            <a:pPr marL="0" marR="0" lvl="0" indent="0" algn="l" defTabSz="897016" rtl="0" eaLnBrk="0" fontAlgn="base" latinLnBrk="0" hangingPunct="0">
              <a:lnSpc>
                <a:spcPct val="100000"/>
              </a:lnSpc>
              <a:spcBef>
                <a:spcPct val="0"/>
              </a:spcBef>
              <a:spcAft>
                <a:spcPct val="0"/>
              </a:spcAft>
              <a:buClr>
                <a:schemeClr val="tx2"/>
              </a:buClr>
              <a:buSzTx/>
              <a:buFontTx/>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897016" rtl="0" eaLnBrk="0" fontAlgn="base" latinLnBrk="0" hangingPunct="0">
              <a:lnSpc>
                <a:spcPct val="100000"/>
              </a:lnSpc>
              <a:spcBef>
                <a:spcPct val="0"/>
              </a:spcBef>
              <a:spcAft>
                <a:spcPct val="0"/>
              </a:spcAft>
              <a:buClr>
                <a:schemeClr val="tx2"/>
              </a:buClr>
              <a:buSzTx/>
              <a:buFontTx/>
              <a:buNone/>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It is currently available in 11 languages including English, Spanish and French</a:t>
            </a:r>
          </a:p>
          <a:p>
            <a:pPr marL="0" marR="0" lvl="0" indent="0" algn="l" defTabSz="897016" rtl="0" eaLnBrk="0" fontAlgn="base" latinLnBrk="0" hangingPunct="0">
              <a:lnSpc>
                <a:spcPct val="100000"/>
              </a:lnSpc>
              <a:spcBef>
                <a:spcPct val="0"/>
              </a:spcBef>
              <a:spcAft>
                <a:spcPct val="0"/>
              </a:spcAft>
              <a:buClr>
                <a:schemeClr val="tx2"/>
              </a:buClr>
              <a:buSzTx/>
              <a:buFontTx/>
              <a:buNone/>
              <a:tabLst/>
              <a:defRPr/>
            </a:pPr>
            <a:endParaRPr lang="en-US" altLang="en-US" sz="1200" dirty="0">
              <a:effectLst/>
              <a:latin typeface="Calibri" panose="020F0502020204030204" pitchFamily="34" charset="0"/>
              <a:cs typeface="Times New Roman" panose="02020603050405020304" pitchFamily="18" charset="0"/>
            </a:endParaRPr>
          </a:p>
          <a:p>
            <a:pPr marL="0" marR="0" lvl="0" indent="0" algn="l" defTabSz="897016" rtl="0" eaLnBrk="0" fontAlgn="base" latinLnBrk="0" hangingPunct="0">
              <a:lnSpc>
                <a:spcPct val="100000"/>
              </a:lnSpc>
              <a:spcBef>
                <a:spcPct val="0"/>
              </a:spcBef>
              <a:spcAft>
                <a:spcPct val="0"/>
              </a:spcAft>
              <a:buClr>
                <a:schemeClr val="tx2"/>
              </a:buClr>
              <a:buSzTx/>
              <a:buFontTx/>
              <a:buNone/>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Once all six modules of the course are completed, an official WHO certificate of completion is awarded to learners. </a:t>
            </a:r>
          </a:p>
          <a:p>
            <a:pPr marL="0" marR="0" lvl="0" indent="0" algn="l" defTabSz="897016" rtl="0" eaLnBrk="0" fontAlgn="base" latinLnBrk="0" hangingPunct="0">
              <a:lnSpc>
                <a:spcPct val="100000"/>
              </a:lnSpc>
              <a:spcBef>
                <a:spcPct val="0"/>
              </a:spcBef>
              <a:spcAft>
                <a:spcPct val="0"/>
              </a:spcAft>
              <a:buClr>
                <a:schemeClr val="tx2"/>
              </a:buClr>
              <a:buSzTx/>
              <a:buFontTx/>
              <a:buNone/>
              <a:tabLst/>
              <a:defRPr/>
            </a:pPr>
            <a:endParaRPr lang="en-US" altLang="en-US" sz="1200" dirty="0">
              <a:effectLst/>
              <a:latin typeface="Calibri" panose="020F0502020204030204" pitchFamily="34" charset="0"/>
              <a:cs typeface="Times New Roman" panose="02020603050405020304" pitchFamily="18" charset="0"/>
            </a:endParaRPr>
          </a:p>
          <a:p>
            <a:r>
              <a:rPr lang="en-US" sz="1200" dirty="0">
                <a:effectLst/>
                <a:latin typeface="Calibri" panose="020F0502020204030204" pitchFamily="34" charset="0"/>
                <a:ea typeface="Calibri" panose="020F0502020204030204" pitchFamily="34" charset="0"/>
              </a:rPr>
              <a:t>Dr Tedros Adhanom Ghebreyesus, Director-General of WHO has set an ambitious target for this global e-training and rollout campaign: five million learners to complete the e-training by the end of 2024. </a:t>
            </a:r>
          </a:p>
          <a:p>
            <a:pPr marL="0" marR="0" lvl="0" indent="0" algn="l" defTabSz="897016" rtl="0" eaLnBrk="0" fontAlgn="base" latinLnBrk="0" hangingPunct="0">
              <a:lnSpc>
                <a:spcPct val="100000"/>
              </a:lnSpc>
              <a:spcBef>
                <a:spcPct val="0"/>
              </a:spcBef>
              <a:spcAft>
                <a:spcPct val="0"/>
              </a:spcAft>
              <a:buClr>
                <a:schemeClr val="tx2"/>
              </a:buClr>
              <a:buSzTx/>
              <a:buFontTx/>
              <a:buNone/>
              <a:tabLst/>
              <a:defRPr/>
            </a:pPr>
            <a:endParaRPr lang="en-US" altLang="en-US" sz="1200" dirty="0">
              <a:latin typeface="+mn-lt"/>
            </a:endParaRPr>
          </a:p>
          <a:p>
            <a:pPr>
              <a:defRPr/>
            </a:pPr>
            <a:endParaRPr lang="en-US" altLang="en-US" sz="1200" dirty="0">
              <a:latin typeface="+mn-lt"/>
            </a:endParaRPr>
          </a:p>
          <a:p>
            <a:pPr>
              <a:defRPr/>
            </a:pPr>
            <a:endParaRPr lang="en-US" altLang="en-US" sz="1200" dirty="0">
              <a:latin typeface="+mn-lt"/>
            </a:endParaRPr>
          </a:p>
        </p:txBody>
      </p:sp>
      <p:sp>
        <p:nvSpPr>
          <p:cNvPr id="40964" name="Header Placeholder 3"/>
          <p:cNvSpPr>
            <a:spLocks noGrp="1"/>
          </p:cNvSpPr>
          <p:nvPr>
            <p:ph type="hdr" sz="quarter"/>
          </p:nvPr>
        </p:nvSpPr>
        <p:spPr>
          <a:noFill/>
        </p:spPr>
        <p:txBody>
          <a:bodyPr/>
          <a:lstStyle>
            <a:lvl1pPr defTabSz="923925">
              <a:defRPr>
                <a:solidFill>
                  <a:schemeClr val="tx1"/>
                </a:solidFill>
                <a:latin typeface="Arial" charset="0"/>
                <a:cs typeface="Arial" charset="0"/>
              </a:defRPr>
            </a:lvl1pPr>
            <a:lvl2pPr marL="739775" indent="-282575" defTabSz="923925">
              <a:defRPr>
                <a:solidFill>
                  <a:schemeClr val="tx1"/>
                </a:solidFill>
                <a:latin typeface="Arial" charset="0"/>
                <a:cs typeface="Arial" charset="0"/>
              </a:defRPr>
            </a:lvl2pPr>
            <a:lvl3pPr marL="1139825" indent="-225425" defTabSz="923925">
              <a:defRPr>
                <a:solidFill>
                  <a:schemeClr val="tx1"/>
                </a:solidFill>
                <a:latin typeface="Arial" charset="0"/>
                <a:cs typeface="Arial" charset="0"/>
              </a:defRPr>
            </a:lvl3pPr>
            <a:lvl4pPr marL="1597025" indent="-225425" defTabSz="923925">
              <a:defRPr>
                <a:solidFill>
                  <a:schemeClr val="tx1"/>
                </a:solidFill>
                <a:latin typeface="Arial" charset="0"/>
                <a:cs typeface="Arial" charset="0"/>
              </a:defRPr>
            </a:lvl4pPr>
            <a:lvl5pPr marL="2054225" indent="-225425" defTabSz="923925">
              <a:defRPr>
                <a:solidFill>
                  <a:schemeClr val="tx1"/>
                </a:solidFill>
                <a:latin typeface="Arial" charset="0"/>
                <a:cs typeface="Arial" charset="0"/>
              </a:defRPr>
            </a:lvl5pPr>
            <a:lvl6pPr marL="2511425" indent="-225425" defTabSz="923925" eaLnBrk="0" fontAlgn="base" hangingPunct="0">
              <a:spcBef>
                <a:spcPct val="0"/>
              </a:spcBef>
              <a:spcAft>
                <a:spcPct val="0"/>
              </a:spcAft>
              <a:defRPr>
                <a:solidFill>
                  <a:schemeClr val="tx1"/>
                </a:solidFill>
                <a:latin typeface="Arial" charset="0"/>
                <a:cs typeface="Arial" charset="0"/>
              </a:defRPr>
            </a:lvl6pPr>
            <a:lvl7pPr marL="2968625" indent="-225425" defTabSz="923925" eaLnBrk="0" fontAlgn="base" hangingPunct="0">
              <a:spcBef>
                <a:spcPct val="0"/>
              </a:spcBef>
              <a:spcAft>
                <a:spcPct val="0"/>
              </a:spcAft>
              <a:defRPr>
                <a:solidFill>
                  <a:schemeClr val="tx1"/>
                </a:solidFill>
                <a:latin typeface="Arial" charset="0"/>
                <a:cs typeface="Arial" charset="0"/>
              </a:defRPr>
            </a:lvl7pPr>
            <a:lvl8pPr marL="3425825" indent="-225425" defTabSz="923925" eaLnBrk="0" fontAlgn="base" hangingPunct="0">
              <a:spcBef>
                <a:spcPct val="0"/>
              </a:spcBef>
              <a:spcAft>
                <a:spcPct val="0"/>
              </a:spcAft>
              <a:defRPr>
                <a:solidFill>
                  <a:schemeClr val="tx1"/>
                </a:solidFill>
                <a:latin typeface="Arial" charset="0"/>
                <a:cs typeface="Arial" charset="0"/>
              </a:defRPr>
            </a:lvl8pPr>
            <a:lvl9pPr marL="3883025" indent="-225425" defTabSz="923925" eaLnBrk="0" fontAlgn="base" hangingPunct="0">
              <a:spcBef>
                <a:spcPct val="0"/>
              </a:spcBef>
              <a:spcAft>
                <a:spcPct val="0"/>
              </a:spcAft>
              <a:defRPr>
                <a:solidFill>
                  <a:schemeClr val="tx1"/>
                </a:solidFill>
                <a:latin typeface="Arial" charset="0"/>
                <a:cs typeface="Arial" charset="0"/>
              </a:defRPr>
            </a:lvl9pPr>
          </a:lstStyle>
          <a:p>
            <a:r>
              <a:rPr lang="en-US" altLang="en-US"/>
              <a:t>World Health Organization</a:t>
            </a:r>
          </a:p>
        </p:txBody>
      </p:sp>
      <p:sp>
        <p:nvSpPr>
          <p:cNvPr id="40965" name="Date Placeholder 4"/>
          <p:cNvSpPr>
            <a:spLocks noGrp="1"/>
          </p:cNvSpPr>
          <p:nvPr>
            <p:ph type="dt" sz="quarter" idx="1"/>
          </p:nvPr>
        </p:nvSpPr>
        <p:spPr>
          <a:noFill/>
        </p:spPr>
        <p:txBody>
          <a:bodyPr/>
          <a:lstStyle>
            <a:lvl1pPr defTabSz="923925">
              <a:defRPr>
                <a:solidFill>
                  <a:schemeClr val="tx1"/>
                </a:solidFill>
                <a:latin typeface="Arial" charset="0"/>
                <a:cs typeface="Arial" charset="0"/>
              </a:defRPr>
            </a:lvl1pPr>
            <a:lvl2pPr marL="739775" indent="-282575" defTabSz="923925">
              <a:defRPr>
                <a:solidFill>
                  <a:schemeClr val="tx1"/>
                </a:solidFill>
                <a:latin typeface="Arial" charset="0"/>
                <a:cs typeface="Arial" charset="0"/>
              </a:defRPr>
            </a:lvl2pPr>
            <a:lvl3pPr marL="1139825" indent="-225425" defTabSz="923925">
              <a:defRPr>
                <a:solidFill>
                  <a:schemeClr val="tx1"/>
                </a:solidFill>
                <a:latin typeface="Arial" charset="0"/>
                <a:cs typeface="Arial" charset="0"/>
              </a:defRPr>
            </a:lvl3pPr>
            <a:lvl4pPr marL="1597025" indent="-225425" defTabSz="923925">
              <a:defRPr>
                <a:solidFill>
                  <a:schemeClr val="tx1"/>
                </a:solidFill>
                <a:latin typeface="Arial" charset="0"/>
                <a:cs typeface="Arial" charset="0"/>
              </a:defRPr>
            </a:lvl4pPr>
            <a:lvl5pPr marL="2054225" indent="-225425" defTabSz="923925">
              <a:defRPr>
                <a:solidFill>
                  <a:schemeClr val="tx1"/>
                </a:solidFill>
                <a:latin typeface="Arial" charset="0"/>
                <a:cs typeface="Arial" charset="0"/>
              </a:defRPr>
            </a:lvl5pPr>
            <a:lvl6pPr marL="2511425" indent="-225425" defTabSz="923925" eaLnBrk="0" fontAlgn="base" hangingPunct="0">
              <a:spcBef>
                <a:spcPct val="0"/>
              </a:spcBef>
              <a:spcAft>
                <a:spcPct val="0"/>
              </a:spcAft>
              <a:defRPr>
                <a:solidFill>
                  <a:schemeClr val="tx1"/>
                </a:solidFill>
                <a:latin typeface="Arial" charset="0"/>
                <a:cs typeface="Arial" charset="0"/>
              </a:defRPr>
            </a:lvl6pPr>
            <a:lvl7pPr marL="2968625" indent="-225425" defTabSz="923925" eaLnBrk="0" fontAlgn="base" hangingPunct="0">
              <a:spcBef>
                <a:spcPct val="0"/>
              </a:spcBef>
              <a:spcAft>
                <a:spcPct val="0"/>
              </a:spcAft>
              <a:defRPr>
                <a:solidFill>
                  <a:schemeClr val="tx1"/>
                </a:solidFill>
                <a:latin typeface="Arial" charset="0"/>
                <a:cs typeface="Arial" charset="0"/>
              </a:defRPr>
            </a:lvl7pPr>
            <a:lvl8pPr marL="3425825" indent="-225425" defTabSz="923925" eaLnBrk="0" fontAlgn="base" hangingPunct="0">
              <a:spcBef>
                <a:spcPct val="0"/>
              </a:spcBef>
              <a:spcAft>
                <a:spcPct val="0"/>
              </a:spcAft>
              <a:defRPr>
                <a:solidFill>
                  <a:schemeClr val="tx1"/>
                </a:solidFill>
                <a:latin typeface="Arial" charset="0"/>
                <a:cs typeface="Arial" charset="0"/>
              </a:defRPr>
            </a:lvl8pPr>
            <a:lvl9pPr marL="3883025" indent="-225425" defTabSz="923925" eaLnBrk="0" fontAlgn="base" hangingPunct="0">
              <a:spcBef>
                <a:spcPct val="0"/>
              </a:spcBef>
              <a:spcAft>
                <a:spcPct val="0"/>
              </a:spcAft>
              <a:defRPr>
                <a:solidFill>
                  <a:schemeClr val="tx1"/>
                </a:solidFill>
                <a:latin typeface="Arial" charset="0"/>
                <a:cs typeface="Arial" charset="0"/>
              </a:defRPr>
            </a:lvl9pPr>
          </a:lstStyle>
          <a:p>
            <a:endParaRPr lang="en-US" altLang="en-US" dirty="0"/>
          </a:p>
        </p:txBody>
      </p:sp>
      <p:sp>
        <p:nvSpPr>
          <p:cNvPr id="40966" name="Slide Number Placeholder 5"/>
          <p:cNvSpPr>
            <a:spLocks noGrp="1"/>
          </p:cNvSpPr>
          <p:nvPr>
            <p:ph type="sldNum" sz="quarter" idx="5"/>
          </p:nvPr>
        </p:nvSpPr>
        <p:spPr>
          <a:xfrm>
            <a:off x="5731933" y="9439476"/>
            <a:ext cx="635000" cy="329574"/>
          </a:xfrm>
          <a:noFill/>
        </p:spPr>
        <p:txBody>
          <a:bodyPr/>
          <a:lstStyle>
            <a:lvl1pPr defTabSz="923925">
              <a:defRPr>
                <a:solidFill>
                  <a:schemeClr val="tx1"/>
                </a:solidFill>
                <a:latin typeface="Arial" charset="0"/>
                <a:cs typeface="Arial" charset="0"/>
              </a:defRPr>
            </a:lvl1pPr>
            <a:lvl2pPr marL="739775" indent="-282575" defTabSz="923925">
              <a:defRPr>
                <a:solidFill>
                  <a:schemeClr val="tx1"/>
                </a:solidFill>
                <a:latin typeface="Arial" charset="0"/>
                <a:cs typeface="Arial" charset="0"/>
              </a:defRPr>
            </a:lvl2pPr>
            <a:lvl3pPr marL="1139825" indent="-225425" defTabSz="923925">
              <a:defRPr>
                <a:solidFill>
                  <a:schemeClr val="tx1"/>
                </a:solidFill>
                <a:latin typeface="Arial" charset="0"/>
                <a:cs typeface="Arial" charset="0"/>
              </a:defRPr>
            </a:lvl3pPr>
            <a:lvl4pPr marL="1597025" indent="-225425" defTabSz="923925">
              <a:defRPr>
                <a:solidFill>
                  <a:schemeClr val="tx1"/>
                </a:solidFill>
                <a:latin typeface="Arial" charset="0"/>
                <a:cs typeface="Arial" charset="0"/>
              </a:defRPr>
            </a:lvl4pPr>
            <a:lvl5pPr marL="2054225" indent="-225425" defTabSz="923925">
              <a:defRPr>
                <a:solidFill>
                  <a:schemeClr val="tx1"/>
                </a:solidFill>
                <a:latin typeface="Arial" charset="0"/>
                <a:cs typeface="Arial" charset="0"/>
              </a:defRPr>
            </a:lvl5pPr>
            <a:lvl6pPr marL="2511425" indent="-225425" defTabSz="923925" eaLnBrk="0" fontAlgn="base" hangingPunct="0">
              <a:spcBef>
                <a:spcPct val="0"/>
              </a:spcBef>
              <a:spcAft>
                <a:spcPct val="0"/>
              </a:spcAft>
              <a:defRPr>
                <a:solidFill>
                  <a:schemeClr val="tx1"/>
                </a:solidFill>
                <a:latin typeface="Arial" charset="0"/>
                <a:cs typeface="Arial" charset="0"/>
              </a:defRPr>
            </a:lvl6pPr>
            <a:lvl7pPr marL="2968625" indent="-225425" defTabSz="923925" eaLnBrk="0" fontAlgn="base" hangingPunct="0">
              <a:spcBef>
                <a:spcPct val="0"/>
              </a:spcBef>
              <a:spcAft>
                <a:spcPct val="0"/>
              </a:spcAft>
              <a:defRPr>
                <a:solidFill>
                  <a:schemeClr val="tx1"/>
                </a:solidFill>
                <a:latin typeface="Arial" charset="0"/>
                <a:cs typeface="Arial" charset="0"/>
              </a:defRPr>
            </a:lvl7pPr>
            <a:lvl8pPr marL="3425825" indent="-225425" defTabSz="923925" eaLnBrk="0" fontAlgn="base" hangingPunct="0">
              <a:spcBef>
                <a:spcPct val="0"/>
              </a:spcBef>
              <a:spcAft>
                <a:spcPct val="0"/>
              </a:spcAft>
              <a:defRPr>
                <a:solidFill>
                  <a:schemeClr val="tx1"/>
                </a:solidFill>
                <a:latin typeface="Arial" charset="0"/>
                <a:cs typeface="Arial" charset="0"/>
              </a:defRPr>
            </a:lvl8pPr>
            <a:lvl9pPr marL="3883025" indent="-225425" defTabSz="923925" eaLnBrk="0" fontAlgn="base" hangingPunct="0">
              <a:spcBef>
                <a:spcPct val="0"/>
              </a:spcBef>
              <a:spcAft>
                <a:spcPct val="0"/>
              </a:spcAft>
              <a:defRPr>
                <a:solidFill>
                  <a:schemeClr val="tx1"/>
                </a:solidFill>
                <a:latin typeface="Arial" charset="0"/>
                <a:cs typeface="Arial" charset="0"/>
              </a:defRPr>
            </a:lvl9pPr>
          </a:lstStyle>
          <a:p>
            <a:fld id="{2208EA15-A24A-4CDE-A1E3-A60C2929E842}" type="slidenum">
              <a:rPr lang="en-US" altLang="en-US" smtClean="0"/>
              <a:pPr/>
              <a:t>18</a:t>
            </a:fld>
            <a:endParaRPr lang="en-US" altLang="en-US" dirty="0"/>
          </a:p>
        </p:txBody>
      </p:sp>
    </p:spTree>
    <p:extLst>
      <p:ext uri="{BB962C8B-B14F-4D97-AF65-F5344CB8AC3E}">
        <p14:creationId xmlns:p14="http://schemas.microsoft.com/office/powerpoint/2010/main" val="10859842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txBox="1">
            <a:spLocks noGrp="1" noChangeArrowheads="1"/>
          </p:cNvSpPr>
          <p:nvPr/>
        </p:nvSpPr>
        <p:spPr bwMode="auto">
          <a:xfrm>
            <a:off x="2617667" y="9062580"/>
            <a:ext cx="3038548" cy="464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0" tIns="45696" rIns="91390" bIns="45696" anchor="b"/>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a:fld id="{24E07A32-9A4E-455F-AA51-2E67E8A3C13E}" type="slidenum">
              <a:rPr lang="en-US" altLang="fr-FR" sz="1200">
                <a:solidFill>
                  <a:prstClr val="black"/>
                </a:solidFill>
                <a:ea typeface="MS PGothic" pitchFamily="34" charset="-128"/>
              </a:rPr>
              <a:pPr algn="r"/>
              <a:t>19</a:t>
            </a:fld>
            <a:endParaRPr lang="en-US" altLang="fr-FR" sz="1200" dirty="0">
              <a:solidFill>
                <a:prstClr val="black"/>
              </a:solidFill>
              <a:ea typeface="MS PGothic" pitchFamily="34" charset="-128"/>
            </a:endParaRPr>
          </a:p>
        </p:txBody>
      </p:sp>
      <p:sp>
        <p:nvSpPr>
          <p:cNvPr id="34819" name="Rectangle 2"/>
          <p:cNvSpPr>
            <a:spLocks noGrp="1" noRot="1" noChangeAspect="1" noChangeArrowheads="1" noTextEdit="1"/>
          </p:cNvSpPr>
          <p:nvPr>
            <p:ph type="sldImg"/>
          </p:nvPr>
        </p:nvSpPr>
        <p:spPr>
          <a:xfrm>
            <a:off x="357188" y="307975"/>
            <a:ext cx="5989637" cy="3370263"/>
          </a:xfrm>
          <a:ln/>
        </p:spPr>
      </p:sp>
      <p:sp>
        <p:nvSpPr>
          <p:cNvPr id="2" name="Notes Placeholder 1">
            <a:extLst>
              <a:ext uri="{FF2B5EF4-FFF2-40B4-BE49-F238E27FC236}">
                <a16:creationId xmlns:a16="http://schemas.microsoft.com/office/drawing/2014/main" id="{693D3540-D3E4-4E02-9C71-19D07CE62589}"/>
              </a:ext>
            </a:extLst>
          </p:cNvPr>
          <p:cNvSpPr>
            <a:spLocks noGrp="1"/>
          </p:cNvSpPr>
          <p:nvPr>
            <p:ph type="body" idx="1"/>
          </p:nvPr>
        </p:nvSpPr>
        <p:spPr>
          <a:xfrm>
            <a:off x="675410" y="4243183"/>
            <a:ext cx="5354053" cy="3754874"/>
          </a:xfrm>
        </p:spPr>
        <p:txBody>
          <a:bodyPr/>
          <a:lstStyle/>
          <a:p>
            <a:pPr marL="289151" lvl="1" indent="-171450">
              <a:buFont typeface="Arial" panose="020B0604020202020204" pitchFamily="34" charset="0"/>
              <a:buChar char="•"/>
            </a:pPr>
            <a:r>
              <a:rPr lang="de-DE" sz="1200" kern="1200" dirty="0">
                <a:solidFill>
                  <a:schemeClr val="tx1"/>
                </a:solidFill>
                <a:effectLst/>
                <a:latin typeface="+mj-lt"/>
                <a:ea typeface="+mn-ea"/>
                <a:cs typeface="+mn-cs"/>
              </a:rPr>
              <a:t>Just to provide a quick overview of where we are at with the QR e-training so far:</a:t>
            </a:r>
          </a:p>
          <a:p>
            <a:pPr marL="289151" lvl="1" indent="-171450">
              <a:buFont typeface="Arial" panose="020B0604020202020204" pitchFamily="34" charset="0"/>
              <a:buChar char="•"/>
            </a:pPr>
            <a:endParaRPr lang="de-DE" sz="1200" kern="1200" dirty="0">
              <a:solidFill>
                <a:schemeClr val="tx1"/>
              </a:solidFill>
              <a:effectLst/>
              <a:latin typeface="+mj-lt"/>
              <a:ea typeface="+mn-ea"/>
              <a:cs typeface="+mn-cs"/>
            </a:endParaRPr>
          </a:p>
          <a:p>
            <a:pPr marL="289151" lvl="1" indent="-171450">
              <a:buFont typeface="Arial" panose="020B0604020202020204" pitchFamily="34" charset="0"/>
              <a:buChar char="•"/>
            </a:pPr>
            <a:r>
              <a:rPr lang="de-DE" sz="1200" kern="1200" dirty="0" err="1">
                <a:solidFill>
                  <a:schemeClr val="tx1"/>
                </a:solidFill>
                <a:effectLst/>
                <a:latin typeface="+mj-lt"/>
                <a:ea typeface="+mn-ea"/>
                <a:cs typeface="+mn-cs"/>
              </a:rPr>
              <a:t>During</a:t>
            </a:r>
            <a:r>
              <a:rPr lang="de-DE" sz="1200" kern="1200" dirty="0">
                <a:solidFill>
                  <a:schemeClr val="tx1"/>
                </a:solidFill>
                <a:effectLst/>
                <a:latin typeface="+mj-lt"/>
                <a:ea typeface="+mn-ea"/>
                <a:cs typeface="+mn-cs"/>
              </a:rPr>
              <a:t> </a:t>
            </a:r>
            <a:r>
              <a:rPr lang="de-DE" sz="1200" kern="1200" dirty="0" err="1">
                <a:solidFill>
                  <a:schemeClr val="tx1"/>
                </a:solidFill>
                <a:effectLst/>
                <a:latin typeface="+mj-lt"/>
                <a:ea typeface="+mn-ea"/>
                <a:cs typeface="+mn-cs"/>
              </a:rPr>
              <a:t>the</a:t>
            </a:r>
            <a:r>
              <a:rPr lang="de-DE" sz="1200" kern="1200" dirty="0">
                <a:solidFill>
                  <a:schemeClr val="tx1"/>
                </a:solidFill>
                <a:effectLst/>
                <a:latin typeface="+mj-lt"/>
                <a:ea typeface="+mn-ea"/>
                <a:cs typeface="+mn-cs"/>
              </a:rPr>
              <a:t> </a:t>
            </a:r>
            <a:r>
              <a:rPr lang="de-DE" sz="1200" kern="1200" dirty="0" err="1">
                <a:solidFill>
                  <a:schemeClr val="tx1"/>
                </a:solidFill>
                <a:effectLst/>
                <a:latin typeface="+mj-lt"/>
                <a:ea typeface="+mn-ea"/>
                <a:cs typeface="+mn-cs"/>
              </a:rPr>
              <a:t>first</a:t>
            </a:r>
            <a:r>
              <a:rPr lang="de-DE" sz="1200" kern="1200" dirty="0">
                <a:solidFill>
                  <a:schemeClr val="tx1"/>
                </a:solidFill>
                <a:effectLst/>
                <a:latin typeface="+mj-lt"/>
                <a:ea typeface="+mn-ea"/>
                <a:cs typeface="+mn-cs"/>
              </a:rPr>
              <a:t> </a:t>
            </a:r>
            <a:r>
              <a:rPr lang="de-DE" sz="1200" kern="1200" dirty="0" err="1">
                <a:solidFill>
                  <a:schemeClr val="tx1"/>
                </a:solidFill>
                <a:effectLst/>
                <a:latin typeface="+mj-lt"/>
                <a:ea typeface="+mn-ea"/>
                <a:cs typeface="+mn-cs"/>
              </a:rPr>
              <a:t>phase</a:t>
            </a:r>
            <a:r>
              <a:rPr lang="de-DE" sz="1200" kern="1200" dirty="0">
                <a:solidFill>
                  <a:schemeClr val="tx1"/>
                </a:solidFill>
                <a:effectLst/>
                <a:latin typeface="+mj-lt"/>
                <a:ea typeface="+mn-ea"/>
                <a:cs typeface="+mn-cs"/>
              </a:rPr>
              <a:t> </a:t>
            </a:r>
            <a:r>
              <a:rPr lang="de-DE" sz="1200" kern="1200" dirty="0" err="1">
                <a:solidFill>
                  <a:schemeClr val="tx1"/>
                </a:solidFill>
                <a:effectLst/>
                <a:latin typeface="+mj-lt"/>
                <a:ea typeface="+mn-ea"/>
                <a:cs typeface="+mn-cs"/>
              </a:rPr>
              <a:t>of</a:t>
            </a:r>
            <a:r>
              <a:rPr lang="de-DE" sz="1200" kern="1200" dirty="0">
                <a:solidFill>
                  <a:schemeClr val="tx1"/>
                </a:solidFill>
                <a:effectLst/>
                <a:latin typeface="+mj-lt"/>
                <a:ea typeface="+mn-ea"/>
                <a:cs typeface="+mn-cs"/>
              </a:rPr>
              <a:t> </a:t>
            </a:r>
            <a:r>
              <a:rPr lang="de-DE" sz="1200" kern="1200" dirty="0" err="1">
                <a:solidFill>
                  <a:schemeClr val="tx1"/>
                </a:solidFill>
                <a:effectLst/>
                <a:latin typeface="+mj-lt"/>
                <a:ea typeface="+mn-ea"/>
                <a:cs typeface="+mn-cs"/>
              </a:rPr>
              <a:t>the</a:t>
            </a:r>
            <a:r>
              <a:rPr lang="de-DE" sz="1200" kern="1200" dirty="0">
                <a:solidFill>
                  <a:schemeClr val="tx1"/>
                </a:solidFill>
                <a:effectLst/>
                <a:latin typeface="+mj-lt"/>
                <a:ea typeface="+mn-ea"/>
                <a:cs typeface="+mn-cs"/>
              </a:rPr>
              <a:t> QR </a:t>
            </a:r>
            <a:r>
              <a:rPr lang="de-DE" sz="1200" kern="1200" dirty="0" err="1">
                <a:solidFill>
                  <a:schemeClr val="tx1"/>
                </a:solidFill>
                <a:effectLst/>
                <a:latin typeface="+mj-lt"/>
                <a:ea typeface="+mn-ea"/>
                <a:cs typeface="+mn-cs"/>
              </a:rPr>
              <a:t>e</a:t>
            </a:r>
            <a:r>
              <a:rPr lang="de-DE" sz="1200" kern="1200" dirty="0">
                <a:solidFill>
                  <a:schemeClr val="tx1"/>
                </a:solidFill>
                <a:effectLst/>
                <a:latin typeface="+mj-lt"/>
                <a:ea typeface="+mn-ea"/>
                <a:cs typeface="+mn-cs"/>
              </a:rPr>
              <a:t>-training </a:t>
            </a:r>
            <a:r>
              <a:rPr lang="de-DE" sz="1200" kern="1200" dirty="0" err="1">
                <a:solidFill>
                  <a:schemeClr val="tx1"/>
                </a:solidFill>
                <a:effectLst/>
                <a:latin typeface="+mj-lt"/>
                <a:ea typeface="+mn-ea"/>
                <a:cs typeface="+mn-cs"/>
              </a:rPr>
              <a:t>implementation</a:t>
            </a:r>
            <a:r>
              <a:rPr lang="de-DE" sz="1200" kern="1200" dirty="0">
                <a:solidFill>
                  <a:schemeClr val="tx1"/>
                </a:solidFill>
                <a:effectLst/>
                <a:latin typeface="+mj-lt"/>
                <a:ea typeface="+mn-ea"/>
                <a:cs typeface="+mn-cs"/>
              </a:rPr>
              <a:t> </a:t>
            </a:r>
            <a:r>
              <a:rPr lang="de-DE" sz="1200" kern="1200" dirty="0" err="1">
                <a:solidFill>
                  <a:schemeClr val="tx1"/>
                </a:solidFill>
                <a:effectLst/>
                <a:latin typeface="+mj-lt"/>
                <a:ea typeface="+mn-ea"/>
                <a:cs typeface="+mn-cs"/>
              </a:rPr>
              <a:t>leading</a:t>
            </a:r>
            <a:r>
              <a:rPr lang="de-DE" sz="1200" kern="1200" dirty="0">
                <a:solidFill>
                  <a:schemeClr val="tx1"/>
                </a:solidFill>
                <a:effectLst/>
                <a:latin typeface="+mj-lt"/>
                <a:ea typeface="+mn-ea"/>
                <a:cs typeface="+mn-cs"/>
              </a:rPr>
              <a:t> </a:t>
            </a:r>
            <a:r>
              <a:rPr lang="de-DE" sz="1200" kern="1200" dirty="0" err="1">
                <a:solidFill>
                  <a:schemeClr val="tx1"/>
                </a:solidFill>
                <a:effectLst/>
                <a:latin typeface="+mj-lt"/>
                <a:ea typeface="+mn-ea"/>
                <a:cs typeface="+mn-cs"/>
              </a:rPr>
              <a:t>up</a:t>
            </a:r>
            <a:r>
              <a:rPr lang="de-DE" sz="1200" kern="1200" dirty="0">
                <a:solidFill>
                  <a:schemeClr val="tx1"/>
                </a:solidFill>
                <a:effectLst/>
                <a:latin typeface="+mj-lt"/>
                <a:ea typeface="+mn-ea"/>
                <a:cs typeface="+mn-cs"/>
              </a:rPr>
              <a:t> </a:t>
            </a:r>
            <a:r>
              <a:rPr lang="de-DE" sz="1200" kern="1200" dirty="0" err="1">
                <a:solidFill>
                  <a:schemeClr val="tx1"/>
                </a:solidFill>
                <a:effectLst/>
                <a:latin typeface="+mj-lt"/>
                <a:ea typeface="+mn-ea"/>
                <a:cs typeface="+mn-cs"/>
              </a:rPr>
              <a:t>to</a:t>
            </a:r>
            <a:r>
              <a:rPr lang="de-DE" sz="1200" kern="1200" dirty="0">
                <a:solidFill>
                  <a:schemeClr val="tx1"/>
                </a:solidFill>
                <a:effectLst/>
                <a:latin typeface="+mj-lt"/>
                <a:ea typeface="+mn-ea"/>
                <a:cs typeface="+mn-cs"/>
              </a:rPr>
              <a:t> </a:t>
            </a:r>
            <a:r>
              <a:rPr lang="de-DE" sz="1200" kern="1200" dirty="0" err="1">
                <a:solidFill>
                  <a:schemeClr val="tx1"/>
                </a:solidFill>
                <a:effectLst/>
                <a:latin typeface="+mj-lt"/>
                <a:ea typeface="+mn-ea"/>
                <a:cs typeface="+mn-cs"/>
              </a:rPr>
              <a:t>the</a:t>
            </a:r>
            <a:r>
              <a:rPr lang="de-DE" sz="1200" kern="1200" dirty="0">
                <a:solidFill>
                  <a:schemeClr val="tx1"/>
                </a:solidFill>
                <a:effectLst/>
                <a:latin typeface="+mj-lt"/>
                <a:ea typeface="+mn-ea"/>
                <a:cs typeface="+mn-cs"/>
              </a:rPr>
              <a:t> global </a:t>
            </a:r>
            <a:r>
              <a:rPr lang="de-DE" sz="1200" kern="1200" dirty="0" err="1">
                <a:solidFill>
                  <a:schemeClr val="tx1"/>
                </a:solidFill>
                <a:effectLst/>
                <a:latin typeface="+mj-lt"/>
                <a:ea typeface="+mn-ea"/>
                <a:cs typeface="+mn-cs"/>
              </a:rPr>
              <a:t>launch</a:t>
            </a:r>
            <a:r>
              <a:rPr lang="de-DE" sz="1200" kern="1200" dirty="0">
                <a:solidFill>
                  <a:schemeClr val="tx1"/>
                </a:solidFill>
                <a:effectLst/>
                <a:latin typeface="+mj-lt"/>
                <a:ea typeface="+mn-ea"/>
                <a:cs typeface="+mn-cs"/>
              </a:rPr>
              <a:t>, </a:t>
            </a:r>
            <a:r>
              <a:rPr lang="de-DE" sz="1200" kern="1200" dirty="0" err="1">
                <a:solidFill>
                  <a:schemeClr val="tx1"/>
                </a:solidFill>
                <a:effectLst/>
                <a:latin typeface="+mj-lt"/>
                <a:ea typeface="+mn-ea"/>
                <a:cs typeface="+mn-cs"/>
              </a:rPr>
              <a:t>the</a:t>
            </a:r>
            <a:r>
              <a:rPr lang="de-DE" sz="1200" kern="1200" dirty="0">
                <a:solidFill>
                  <a:schemeClr val="tx1"/>
                </a:solidFill>
                <a:effectLst/>
                <a:latin typeface="+mj-lt"/>
                <a:ea typeface="+mn-ea"/>
                <a:cs typeface="+mn-cs"/>
              </a:rPr>
              <a:t> </a:t>
            </a:r>
            <a:r>
              <a:rPr lang="de-DE" sz="1200" kern="1200" dirty="0" err="1">
                <a:solidFill>
                  <a:schemeClr val="tx1"/>
                </a:solidFill>
                <a:effectLst/>
                <a:latin typeface="+mj-lt"/>
                <a:ea typeface="+mn-ea"/>
                <a:cs typeface="+mn-cs"/>
              </a:rPr>
              <a:t>training</a:t>
            </a:r>
            <a:r>
              <a:rPr lang="de-DE" sz="1200" kern="1200" dirty="0">
                <a:solidFill>
                  <a:schemeClr val="tx1"/>
                </a:solidFill>
                <a:effectLst/>
                <a:latin typeface="+mj-lt"/>
                <a:ea typeface="+mn-ea"/>
                <a:cs typeface="+mn-cs"/>
              </a:rPr>
              <a:t> </a:t>
            </a:r>
            <a:r>
              <a:rPr lang="de-DE" sz="1200" kern="1200" dirty="0" err="1">
                <a:solidFill>
                  <a:schemeClr val="tx1"/>
                </a:solidFill>
                <a:effectLst/>
                <a:latin typeface="+mj-lt"/>
                <a:ea typeface="+mn-ea"/>
                <a:cs typeface="+mn-cs"/>
              </a:rPr>
              <a:t>has</a:t>
            </a:r>
            <a:r>
              <a:rPr lang="de-DE" sz="1200" kern="1200" dirty="0">
                <a:solidFill>
                  <a:schemeClr val="tx1"/>
                </a:solidFill>
                <a:effectLst/>
                <a:latin typeface="+mj-lt"/>
                <a:ea typeface="+mn-ea"/>
                <a:cs typeface="+mn-cs"/>
              </a:rPr>
              <a:t> </a:t>
            </a:r>
            <a:r>
              <a:rPr lang="de-DE" sz="1200" kern="1200" dirty="0" err="1">
                <a:solidFill>
                  <a:schemeClr val="tx1"/>
                </a:solidFill>
                <a:effectLst/>
                <a:latin typeface="+mj-lt"/>
                <a:ea typeface="+mn-ea"/>
                <a:cs typeface="+mn-cs"/>
              </a:rPr>
              <a:t>been</a:t>
            </a:r>
            <a:r>
              <a:rPr lang="de-DE" sz="1200" kern="1200" dirty="0">
                <a:solidFill>
                  <a:schemeClr val="tx1"/>
                </a:solidFill>
                <a:effectLst/>
                <a:latin typeface="+mj-lt"/>
                <a:ea typeface="+mn-ea"/>
                <a:cs typeface="+mn-cs"/>
              </a:rPr>
              <a:t> </a:t>
            </a:r>
            <a:r>
              <a:rPr lang="de-DE" sz="1200" kern="1200" dirty="0" err="1">
                <a:solidFill>
                  <a:schemeClr val="tx1"/>
                </a:solidFill>
                <a:effectLst/>
                <a:latin typeface="+mj-lt"/>
                <a:ea typeface="+mn-ea"/>
                <a:cs typeface="+mn-cs"/>
              </a:rPr>
              <a:t>implemented</a:t>
            </a:r>
            <a:r>
              <a:rPr lang="de-DE" sz="1200" kern="1200" dirty="0">
                <a:solidFill>
                  <a:schemeClr val="tx1"/>
                </a:solidFill>
                <a:effectLst/>
                <a:latin typeface="+mj-lt"/>
                <a:ea typeface="+mn-ea"/>
                <a:cs typeface="+mn-cs"/>
              </a:rPr>
              <a:t> </a:t>
            </a:r>
            <a:r>
              <a:rPr lang="de-DE" sz="1200" kern="1200" dirty="0" err="1">
                <a:solidFill>
                  <a:schemeClr val="tx1"/>
                </a:solidFill>
                <a:effectLst/>
                <a:latin typeface="+mj-lt"/>
                <a:ea typeface="+mn-ea"/>
                <a:cs typeface="+mn-cs"/>
              </a:rPr>
              <a:t>with</a:t>
            </a:r>
            <a:r>
              <a:rPr lang="de-DE" sz="1200" kern="1200" dirty="0">
                <a:solidFill>
                  <a:schemeClr val="tx1"/>
                </a:solidFill>
                <a:effectLst/>
                <a:latin typeface="+mj-lt"/>
                <a:ea typeface="+mn-ea"/>
                <a:cs typeface="+mn-cs"/>
              </a:rPr>
              <a:t> </a:t>
            </a:r>
            <a:r>
              <a:rPr lang="de-DE" sz="1200" kern="1200" dirty="0" err="1">
                <a:solidFill>
                  <a:schemeClr val="tx1"/>
                </a:solidFill>
                <a:effectLst/>
                <a:latin typeface="+mj-lt"/>
                <a:ea typeface="+mn-ea"/>
                <a:cs typeface="+mn-cs"/>
              </a:rPr>
              <a:t>great</a:t>
            </a:r>
            <a:r>
              <a:rPr lang="de-DE" sz="1200" kern="1200" dirty="0">
                <a:solidFill>
                  <a:schemeClr val="tx1"/>
                </a:solidFill>
                <a:effectLst/>
                <a:latin typeface="+mj-lt"/>
                <a:ea typeface="+mn-ea"/>
                <a:cs typeface="+mn-cs"/>
              </a:rPr>
              <a:t> </a:t>
            </a:r>
            <a:r>
              <a:rPr lang="de-DE" sz="1200" kern="1200" dirty="0" err="1">
                <a:solidFill>
                  <a:schemeClr val="tx1"/>
                </a:solidFill>
                <a:effectLst/>
                <a:latin typeface="+mj-lt"/>
                <a:ea typeface="+mn-ea"/>
                <a:cs typeface="+mn-cs"/>
              </a:rPr>
              <a:t>success</a:t>
            </a:r>
            <a:r>
              <a:rPr lang="de-DE" sz="1200" kern="1200" dirty="0">
                <a:solidFill>
                  <a:schemeClr val="tx1"/>
                </a:solidFill>
                <a:effectLst/>
                <a:latin typeface="+mj-lt"/>
                <a:ea typeface="+mn-ea"/>
                <a:cs typeface="+mn-cs"/>
              </a:rPr>
              <a:t> in 7 countries, </a:t>
            </a:r>
            <a:r>
              <a:rPr lang="de-DE" sz="1200" kern="1200" dirty="0" err="1">
                <a:solidFill>
                  <a:schemeClr val="tx1"/>
                </a:solidFill>
                <a:effectLst/>
                <a:latin typeface="+mj-lt"/>
                <a:ea typeface="+mn-ea"/>
                <a:cs typeface="+mn-cs"/>
              </a:rPr>
              <a:t>including</a:t>
            </a:r>
            <a:r>
              <a:rPr lang="de-DE" sz="1200" kern="1200" dirty="0">
                <a:solidFill>
                  <a:schemeClr val="tx1"/>
                </a:solidFill>
                <a:effectLst/>
                <a:latin typeface="+mj-lt"/>
                <a:ea typeface="+mn-ea"/>
                <a:cs typeface="+mn-cs"/>
              </a:rPr>
              <a:t> Ghana, </a:t>
            </a:r>
            <a:r>
              <a:rPr lang="de-DE" sz="1200" kern="1200" dirty="0" err="1">
                <a:solidFill>
                  <a:schemeClr val="tx1"/>
                </a:solidFill>
                <a:effectLst/>
                <a:latin typeface="+mj-lt"/>
                <a:ea typeface="+mn-ea"/>
                <a:cs typeface="+mn-cs"/>
              </a:rPr>
              <a:t>Kenya</a:t>
            </a:r>
            <a:r>
              <a:rPr lang="de-DE" sz="1200" kern="1200" dirty="0">
                <a:solidFill>
                  <a:schemeClr val="tx1"/>
                </a:solidFill>
                <a:effectLst/>
                <a:latin typeface="+mj-lt"/>
                <a:ea typeface="+mn-ea"/>
                <a:cs typeface="+mn-cs"/>
              </a:rPr>
              <a:t> </a:t>
            </a:r>
            <a:r>
              <a:rPr lang="de-DE" sz="1200" kern="1200" dirty="0" err="1">
                <a:solidFill>
                  <a:schemeClr val="tx1"/>
                </a:solidFill>
                <a:effectLst/>
                <a:latin typeface="+mj-lt"/>
                <a:ea typeface="+mn-ea"/>
                <a:cs typeface="+mn-cs"/>
              </a:rPr>
              <a:t>and</a:t>
            </a:r>
            <a:r>
              <a:rPr lang="de-DE" sz="1200" kern="1200" dirty="0">
                <a:solidFill>
                  <a:schemeClr val="tx1"/>
                </a:solidFill>
                <a:effectLst/>
                <a:latin typeface="+mj-lt"/>
                <a:ea typeface="+mn-ea"/>
                <a:cs typeface="+mn-cs"/>
              </a:rPr>
              <a:t> Zimbabwe. </a:t>
            </a:r>
          </a:p>
          <a:p>
            <a:pPr lvl="0"/>
            <a:endParaRPr lang="de-DE" sz="1200" kern="1200" dirty="0">
              <a:solidFill>
                <a:schemeClr val="tx1"/>
              </a:solidFill>
              <a:effectLst/>
              <a:latin typeface="+mj-lt"/>
              <a:ea typeface="+mn-ea"/>
              <a:cs typeface="+mn-cs"/>
            </a:endParaRPr>
          </a:p>
          <a:p>
            <a:pPr marL="285750" lvl="0" indent="-285750">
              <a:buFont typeface="Arial" panose="020B0604020202020204" pitchFamily="34" charset="0"/>
              <a:buChar char="•"/>
            </a:pPr>
            <a:r>
              <a:rPr lang="en-US" sz="1200" kern="1200" dirty="0">
                <a:solidFill>
                  <a:schemeClr val="tx1"/>
                </a:solidFill>
                <a:effectLst/>
                <a:latin typeface="+mj-lt"/>
                <a:ea typeface="+mn-ea"/>
                <a:cs typeface="+mn-cs"/>
              </a:rPr>
              <a:t>In total, 60,000 people have enrolled of which 30,000 people </a:t>
            </a:r>
            <a:r>
              <a:rPr lang="en-US" sz="1200" kern="1200" dirty="0">
                <a:solidFill>
                  <a:schemeClr val="tx1"/>
                </a:solidFill>
                <a:effectLst/>
                <a:latin typeface="+mn-lt"/>
                <a:ea typeface="+mn-ea"/>
                <a:cs typeface="+mn-cs"/>
              </a:rPr>
              <a:t>have already</a:t>
            </a:r>
            <a:r>
              <a:rPr lang="en-US" sz="1200" kern="1200" dirty="0">
                <a:solidFill>
                  <a:schemeClr val="tx1"/>
                </a:solidFill>
                <a:effectLst/>
                <a:latin typeface="+mj-lt"/>
                <a:ea typeface="+mn-ea"/>
                <a:cs typeface="+mn-cs"/>
              </a:rPr>
              <a:t> successfully completed the course with the majority of learners coming from Ghana.</a:t>
            </a:r>
          </a:p>
          <a:p>
            <a:pPr marL="285750" lvl="0" indent="-285750">
              <a:buFont typeface="Arial" panose="020B0604020202020204" pitchFamily="34" charset="0"/>
              <a:buChar char="•"/>
            </a:pPr>
            <a:endParaRPr lang="en-US" sz="1200" kern="1200" dirty="0">
              <a:solidFill>
                <a:schemeClr val="tx1"/>
              </a:solidFill>
              <a:effectLst/>
              <a:latin typeface="+mj-lt"/>
              <a:ea typeface="+mn-ea"/>
              <a:cs typeface="+mn-cs"/>
            </a:endParaRPr>
          </a:p>
          <a:p>
            <a:pPr marL="285750" lvl="0" indent="-285750">
              <a:buFont typeface="Arial" panose="020B0604020202020204" pitchFamily="34" charset="0"/>
              <a:buChar char="•"/>
            </a:pPr>
            <a:r>
              <a:rPr lang="en-US" sz="1200" kern="1200" dirty="0">
                <a:solidFill>
                  <a:schemeClr val="tx1"/>
                </a:solidFill>
                <a:effectLst/>
                <a:latin typeface="+mj-lt"/>
                <a:ea typeface="+mn-ea"/>
                <a:cs typeface="+mn-cs"/>
              </a:rPr>
              <a:t>The training is available in the 11 languages listed on this slide with more translations including Arabic being available until the end of 2022</a:t>
            </a:r>
            <a:br>
              <a:rPr lang="en-US" sz="1200" kern="1200" dirty="0">
                <a:solidFill>
                  <a:schemeClr val="tx1"/>
                </a:solidFill>
                <a:effectLst/>
                <a:latin typeface="+mj-lt"/>
                <a:ea typeface="+mn-ea"/>
                <a:cs typeface="+mn-cs"/>
              </a:rPr>
            </a:br>
            <a:endParaRPr lang="de-DE" sz="1200" kern="1200" dirty="0">
              <a:solidFill>
                <a:schemeClr val="tx1"/>
              </a:solidFill>
              <a:effectLst/>
              <a:latin typeface="+mj-lt"/>
              <a:ea typeface="+mn-ea"/>
              <a:cs typeface="+mn-cs"/>
            </a:endParaRPr>
          </a:p>
          <a:p>
            <a:pPr marL="285750" lvl="0" indent="-285750">
              <a:buFont typeface="Arial" panose="020B0604020202020204" pitchFamily="34" charset="0"/>
              <a:buChar char="•"/>
            </a:pPr>
            <a:r>
              <a:rPr lang="en-US" sz="1100" b="1" kern="1200" dirty="0">
                <a:solidFill>
                  <a:schemeClr val="tx1"/>
                </a:solidFill>
                <a:effectLst/>
                <a:latin typeface="Arial" charset="0"/>
                <a:ea typeface="+mn-ea"/>
                <a:cs typeface="+mn-cs"/>
              </a:rPr>
              <a:t>I would also like to share some of the </a:t>
            </a:r>
            <a:r>
              <a:rPr lang="en-US" sz="1100" b="1" dirty="0"/>
              <a:t>impactful </a:t>
            </a:r>
            <a:r>
              <a:rPr lang="en-US" sz="1100" b="1" kern="1200" dirty="0">
                <a:solidFill>
                  <a:schemeClr val="tx1"/>
                </a:solidFill>
                <a:effectLst/>
                <a:latin typeface="Arial" charset="0"/>
                <a:ea typeface="+mn-ea"/>
                <a:cs typeface="+mn-cs"/>
              </a:rPr>
              <a:t>results of the first phase pre and post training evaluation:</a:t>
            </a:r>
          </a:p>
          <a:p>
            <a:pPr marL="285750" lvl="0" indent="-285750">
              <a:buFont typeface="Arial" panose="020B0604020202020204" pitchFamily="34" charset="0"/>
              <a:buChar char="•"/>
            </a:pPr>
            <a:endParaRPr lang="en-US" sz="1100" kern="1200" dirty="0">
              <a:solidFill>
                <a:schemeClr val="tx1"/>
              </a:solidFill>
              <a:effectLst/>
              <a:latin typeface="Arial" charset="0"/>
              <a:ea typeface="+mn-ea"/>
              <a:cs typeface="+mn-cs"/>
            </a:endParaRPr>
          </a:p>
          <a:p>
            <a:pPr marL="285750" lvl="0" indent="-285750">
              <a:buFont typeface="Arial" panose="020B0604020202020204" pitchFamily="34" charset="0"/>
              <a:buChar char="•"/>
            </a:pPr>
            <a:r>
              <a:rPr lang="en-US" sz="1100" kern="1200" dirty="0">
                <a:solidFill>
                  <a:schemeClr val="tx1"/>
                </a:solidFill>
                <a:effectLst/>
                <a:latin typeface="Arial" charset="0"/>
                <a:ea typeface="+mn-ea"/>
                <a:cs typeface="+mn-cs"/>
              </a:rPr>
              <a:t>Out of the 17 attitudinal items that we are measuring we are seeing highly significant changes on all 17 items.</a:t>
            </a:r>
          </a:p>
          <a:p>
            <a:pPr marL="285750" lvl="0" indent="-285750">
              <a:buFont typeface="Arial" panose="020B0604020202020204" pitchFamily="34" charset="0"/>
              <a:buChar char="•"/>
            </a:pPr>
            <a:endParaRPr lang="en-US" sz="1100" kern="1200" dirty="0">
              <a:solidFill>
                <a:schemeClr val="tx1"/>
              </a:solidFill>
              <a:effectLst/>
              <a:latin typeface="Arial" charset="0"/>
              <a:ea typeface="+mn-ea"/>
              <a:cs typeface="+mn-cs"/>
            </a:endParaRPr>
          </a:p>
          <a:p>
            <a:pPr marL="285750" lvl="0" indent="-285750">
              <a:buFont typeface="Arial" panose="020B0604020202020204" pitchFamily="34" charset="0"/>
              <a:buChar char="•"/>
            </a:pPr>
            <a:r>
              <a:rPr lang="en-US" sz="1100" kern="1200" dirty="0">
                <a:solidFill>
                  <a:schemeClr val="tx1"/>
                </a:solidFill>
                <a:effectLst/>
                <a:latin typeface="Arial" charset="0"/>
                <a:ea typeface="+mn-ea"/>
                <a:cs typeface="+mn-cs"/>
              </a:rPr>
              <a:t>The latest analysis of data is showing a 38% improvement in overall attitudes towards a rights-based approach aligned with the CRPD.</a:t>
            </a:r>
            <a:endParaRPr lang="en-US" sz="1100" dirty="0">
              <a:effectLst/>
              <a:highlight>
                <a:srgbClr val="00FF00"/>
              </a:highligh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075688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a:extLst>
              <a:ext uri="{FF2B5EF4-FFF2-40B4-BE49-F238E27FC236}">
                <a16:creationId xmlns:a16="http://schemas.microsoft.com/office/drawing/2014/main" id="{79C8F737-C34D-420A-A783-E26AE639CC4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513">
              <a:defRPr sz="2400">
                <a:solidFill>
                  <a:schemeClr val="tx1"/>
                </a:solidFill>
                <a:latin typeface="Arial" panose="020B0604020202020204" pitchFamily="34" charset="0"/>
                <a:ea typeface="ＭＳ Ｐゴシック" panose="020B0600070205080204" pitchFamily="34" charset="-128"/>
              </a:defRPr>
            </a:lvl1pPr>
            <a:lvl2pPr marL="37923788" indent="-37466588" defTabSz="925513">
              <a:defRPr sz="2400">
                <a:solidFill>
                  <a:schemeClr val="tx1"/>
                </a:solidFill>
                <a:latin typeface="Arial" panose="020B0604020202020204" pitchFamily="34" charset="0"/>
                <a:ea typeface="ＭＳ Ｐゴシック" panose="020B0600070205080204" pitchFamily="34" charset="-128"/>
              </a:defRPr>
            </a:lvl2pPr>
            <a:lvl3pPr marL="1141413" indent="-227013" defTabSz="925513">
              <a:defRPr sz="2400">
                <a:solidFill>
                  <a:schemeClr val="tx1"/>
                </a:solidFill>
                <a:latin typeface="Arial" panose="020B0604020202020204" pitchFamily="34" charset="0"/>
                <a:ea typeface="ＭＳ Ｐゴシック" panose="020B0600070205080204" pitchFamily="34" charset="-128"/>
              </a:defRPr>
            </a:lvl3pPr>
            <a:lvl4pPr marL="1598613" indent="-227013" defTabSz="925513">
              <a:defRPr sz="2400">
                <a:solidFill>
                  <a:schemeClr val="tx1"/>
                </a:solidFill>
                <a:latin typeface="Arial" panose="020B0604020202020204" pitchFamily="34" charset="0"/>
                <a:ea typeface="ＭＳ Ｐゴシック" panose="020B0600070205080204" pitchFamily="34" charset="-128"/>
              </a:defRPr>
            </a:lvl4pPr>
            <a:lvl5pPr marL="2055813" indent="-227013" defTabSz="925513">
              <a:defRPr sz="2400">
                <a:solidFill>
                  <a:schemeClr val="tx1"/>
                </a:solidFill>
                <a:latin typeface="Arial" panose="020B0604020202020204" pitchFamily="34" charset="0"/>
                <a:ea typeface="ＭＳ Ｐゴシック" panose="020B0600070205080204" pitchFamily="34" charset="-128"/>
              </a:defRPr>
            </a:lvl5pPr>
            <a:lvl6pPr marL="2513013" indent="-227013" defTabSz="9255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0213" indent="-227013" defTabSz="9255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7413" indent="-227013" defTabSz="9255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4613" indent="-227013" defTabSz="9255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r" defTabSz="925513" rtl="0" eaLnBrk="1" fontAlgn="base" latinLnBrk="0" hangingPunct="1">
              <a:lnSpc>
                <a:spcPct val="100000"/>
              </a:lnSpc>
              <a:spcBef>
                <a:spcPct val="0"/>
              </a:spcBef>
              <a:spcAft>
                <a:spcPct val="0"/>
              </a:spcAft>
              <a:buClrTx/>
              <a:buSzTx/>
              <a:buFontTx/>
              <a:buNone/>
              <a:tabLst/>
              <a:defRPr/>
            </a:pPr>
            <a:fld id="{4A5183E1-D7F9-4065-9B43-5B92354FCCC6}" type="slidenum">
              <a:rPr kumimoji="0" lang="en-GB" altLang="en-US" sz="12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pPr marL="0" marR="0" lvl="0" indent="0" algn="r" defTabSz="925513" rtl="0" eaLnBrk="1" fontAlgn="base" latinLnBrk="0" hangingPunct="1">
                <a:lnSpc>
                  <a:spcPct val="100000"/>
                </a:lnSpc>
                <a:spcBef>
                  <a:spcPct val="0"/>
                </a:spcBef>
                <a:spcAft>
                  <a:spcPct val="0"/>
                </a:spcAft>
                <a:buClrTx/>
                <a:buSzTx/>
                <a:buFontTx/>
                <a:buNone/>
                <a:tabLst/>
                <a:defRPr/>
              </a:pPr>
              <a:t>20</a:t>
            </a:fld>
            <a:endParaRPr kumimoji="0" lang="en-GB" altLang="en-US" sz="12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p:txBody>
      </p:sp>
      <p:sp>
        <p:nvSpPr>
          <p:cNvPr id="5123" name="Rectangle 2">
            <a:extLst>
              <a:ext uri="{FF2B5EF4-FFF2-40B4-BE49-F238E27FC236}">
                <a16:creationId xmlns:a16="http://schemas.microsoft.com/office/drawing/2014/main" id="{52C6B8E2-FE09-4A4E-972F-FFC58222E24F}"/>
              </a:ext>
            </a:extLst>
          </p:cNvPr>
          <p:cNvSpPr>
            <a:spLocks noGrp="1" noRot="1" noChangeAspect="1" noChangeArrowheads="1" noTextEdit="1"/>
          </p:cNvSpPr>
          <p:nvPr>
            <p:ph type="sldImg"/>
          </p:nvPr>
        </p:nvSpPr>
        <p:spPr>
          <a:xfrm>
            <a:off x="92075" y="746125"/>
            <a:ext cx="6624638" cy="3727450"/>
          </a:xfrm>
          <a:ln/>
        </p:spPr>
      </p:sp>
      <p:sp>
        <p:nvSpPr>
          <p:cNvPr id="5124" name="Rectangle 3">
            <a:extLst>
              <a:ext uri="{FF2B5EF4-FFF2-40B4-BE49-F238E27FC236}">
                <a16:creationId xmlns:a16="http://schemas.microsoft.com/office/drawing/2014/main" id="{8EE9D01D-471C-4F04-A3BA-B46E097F121E}"/>
              </a:ext>
            </a:extLst>
          </p:cNvPr>
          <p:cNvSpPr>
            <a:spLocks noGrp="1" noChangeArrowheads="1"/>
          </p:cNvSpPr>
          <p:nvPr>
            <p:ph type="body" idx="1"/>
          </p:nvPr>
        </p:nvSpPr>
        <p:spPr>
          <a:xfrm>
            <a:off x="681038" y="4722813"/>
            <a:ext cx="5446712" cy="383017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85750" indent="-285750">
              <a:buFont typeface="Arial" panose="020B0604020202020204" pitchFamily="34" charset="0"/>
              <a:buChar char="•"/>
            </a:pPr>
            <a:r>
              <a:rPr lang="en-US" altLang="en-US" sz="1400" dirty="0">
                <a:latin typeface="Times New Roman" panose="02020603050405020304" pitchFamily="18" charset="0"/>
                <a:ea typeface="ＭＳ Ｐゴシック" panose="020B0600070205080204" pitchFamily="34" charset="-128"/>
              </a:rPr>
              <a:t>You can find the link to access the QR </a:t>
            </a:r>
            <a:r>
              <a:rPr lang="en-US" altLang="en-US" sz="1400" dirty="0" err="1">
                <a:latin typeface="Times New Roman" panose="02020603050405020304" pitchFamily="18" charset="0"/>
                <a:ea typeface="ＭＳ Ｐゴシック" panose="020B0600070205080204" pitchFamily="34" charset="-128"/>
              </a:rPr>
              <a:t>etraining</a:t>
            </a:r>
            <a:r>
              <a:rPr lang="en-US" altLang="en-US" sz="1400" dirty="0">
                <a:latin typeface="Times New Roman" panose="02020603050405020304" pitchFamily="18" charset="0"/>
                <a:ea typeface="ＭＳ Ｐゴシック" panose="020B0600070205080204" pitchFamily="34" charset="-128"/>
              </a:rPr>
              <a:t> on this slide</a:t>
            </a:r>
          </a:p>
          <a:p>
            <a:pPr marL="285750" indent="-285750">
              <a:buFont typeface="Arial" panose="020B0604020202020204" pitchFamily="34" charset="0"/>
              <a:buChar char="•"/>
            </a:pPr>
            <a:r>
              <a:rPr lang="en-US" altLang="en-US" sz="1400" dirty="0">
                <a:latin typeface="Times New Roman" panose="02020603050405020304" pitchFamily="18" charset="0"/>
                <a:ea typeface="ＭＳ Ｐゴシック" panose="020B0600070205080204" pitchFamily="34" charset="-128"/>
              </a:rPr>
              <a:t>We encourage you to take the course and to share </a:t>
            </a:r>
            <a:r>
              <a:rPr lang="en-US" sz="1400" dirty="0">
                <a:effectLst/>
                <a:latin typeface="Calibri" panose="020F0502020204030204" pitchFamily="34" charset="0"/>
                <a:ea typeface="Calibri" panose="020F0502020204030204" pitchFamily="34" charset="0"/>
                <a:cs typeface="Times New Roman" panose="02020603050405020304" pitchFamily="18" charset="0"/>
              </a:rPr>
              <a:t>the e-training widely among your colleagues, networks, family and friends!</a:t>
            </a:r>
            <a:endParaRPr lang="en-US" altLang="en-US" sz="1400" dirty="0">
              <a:latin typeface="Times New Roman" panose="02020603050405020304" pitchFamily="18" charset="0"/>
              <a:ea typeface="ＭＳ Ｐゴシック" panose="020B0600070205080204" pitchFamily="34" charset="-128"/>
            </a:endParaRPr>
          </a:p>
        </p:txBody>
      </p:sp>
    </p:spTree>
    <p:extLst>
      <p:ext uri="{BB962C8B-B14F-4D97-AF65-F5344CB8AC3E}">
        <p14:creationId xmlns:p14="http://schemas.microsoft.com/office/powerpoint/2010/main" val="9507279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b="1" i="1" dirty="0">
                <a:latin typeface="Calibri" panose="020F0502020204030204" pitchFamily="34" charset="0"/>
                <a:ea typeface="SimSun" panose="02010600030101010101" pitchFamily="2" charset="-122"/>
                <a:cs typeface="Arial" panose="020B0604020202020204" pitchFamily="34" charset="0"/>
              </a:rPr>
              <a:t>Presentation: Supported decision-making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United Nations (UN) General Assembly, 24 January 2007 #85"/>
              </a:rPr>
              <a:t>9</a:t>
            </a:r>
            <a:r>
              <a:rPr lang="en-GB" b="1"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solidFill>
                  <a:srgbClr val="000000"/>
                </a:solidFill>
                <a:latin typeface="Calibri" panose="020F0502020204030204" pitchFamily="34" charset="0"/>
                <a:ea typeface="SimSun" panose="02010600030101010101" pitchFamily="2" charset="-122"/>
                <a:cs typeface="Arial" panose="020B0604020202020204" pitchFamily="34" charset="0"/>
              </a:rPr>
              <a:t>50 min.</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u="sng" dirty="0">
                <a:latin typeface="Calibri" panose="020F0502020204030204" pitchFamily="34" charset="0"/>
                <a:ea typeface="SimSun" panose="02010600030101010101" pitchFamily="2" charset="-122"/>
                <a:cs typeface="Arial" panose="020B0604020202020204" pitchFamily="34" charset="0"/>
              </a:rPr>
              <a:t> </a:t>
            </a:r>
            <a:endParaRPr lang="en-CH">
              <a:latin typeface="Calibri" panose="020F0502020204030204" pitchFamily="34" charset="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 times, we may all need support to make decisions in different areas of life. Also there may be times in life when we all may find it difficult and challenging to make decisions by ourselves. </a:t>
            </a:r>
            <a:endParaRPr lang="en-CH"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 times like these it can be useful to turn to people we trust who can support us in the process of making our decision. In fact, we all use support at times when making decisions and choices, especially when we need other people’s perspectives and skills to supplement our own.</a:t>
            </a:r>
            <a:endParaRPr lang="en-CH"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cknowledgement of this, article 12 of the CRPD recognizes and promotes the concept of “supported decision-making”. </a:t>
            </a: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article states that </a:t>
            </a:r>
            <a:r>
              <a:rPr lang="en-US" dirty="0">
                <a:latin typeface="Calibri" panose="020F0502020204030204" pitchFamily="34" charset="0"/>
                <a:ea typeface="SimSun" panose="02010600030101010101" pitchFamily="2" charset="-122"/>
                <a:cs typeface="Calibri" panose="020F0502020204030204" pitchFamily="34" charset="0"/>
              </a:rPr>
              <a:t>people must have access to a variety of support options. including the support of people they trust (e.g. family, friends, peers, advocates, lawyers, personal ombudsperson, etc.). </a:t>
            </a:r>
            <a:endParaRPr lang="en-CH"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t recognizes that building on people’s unique abilities and providing them with the support they require allows them to make their own decisions.</a:t>
            </a:r>
            <a:endParaRPr lang="en-CH"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6</a:t>
            </a:fld>
            <a:endParaRPr lang="en-GB"/>
          </a:p>
        </p:txBody>
      </p:sp>
    </p:spTree>
    <p:extLst>
      <p:ext uri="{BB962C8B-B14F-4D97-AF65-F5344CB8AC3E}">
        <p14:creationId xmlns:p14="http://schemas.microsoft.com/office/powerpoint/2010/main" val="24014511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58826"/>
          </a:xfrm>
        </p:spPr>
        <p:txBody>
          <a:bodyPr/>
          <a:lstStyle/>
          <a:p>
            <a:pPr algn="just">
              <a:lnSpc>
                <a:spcPct val="115000"/>
              </a:lnSpc>
              <a:spcAft>
                <a:spcPts val="601"/>
              </a:spcAft>
            </a:pPr>
            <a:r>
              <a:rPr lang="en-GB" dirty="0">
                <a:latin typeface="Calibri" panose="020F0502020204030204" pitchFamily="34" charset="0"/>
                <a:ea typeface="SimSun" panose="02010600030101010101" pitchFamily="2" charset="-122"/>
                <a:cs typeface="Calibri" panose="020F0502020204030204" pitchFamily="34" charset="0"/>
              </a:rPr>
              <a:t>Advance planning can have two functions:</a:t>
            </a:r>
            <a:endParaRPr lang="en-CH">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mj-lt"/>
              <a:buAutoNum type="arabicPeriod"/>
            </a:pPr>
            <a:r>
              <a:rPr lang="en-GB" dirty="0">
                <a:latin typeface="Calibri" panose="020F0502020204030204" pitchFamily="34" charset="0"/>
                <a:ea typeface="SimSun" panose="02010600030101010101" pitchFamily="2" charset="-122"/>
                <a:cs typeface="Calibri" panose="020F0502020204030204" pitchFamily="34" charset="0"/>
              </a:rPr>
              <a:t>If a person has difficulty in expressing his or her wishes, the people providing support and care to that person can refer to the advance plan as a communication tool and reference to find out the person’s wishes and preference. Supporters can remind the person of what they discussed and what they outlined in the advance plan. </a:t>
            </a:r>
            <a:endParaRPr lang="en-CH">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mj-lt"/>
              <a:buAutoNum type="arabicPeriod"/>
            </a:pPr>
            <a:r>
              <a:rPr lang="en-GB" dirty="0">
                <a:latin typeface="Calibri" panose="020F0502020204030204" pitchFamily="34" charset="0"/>
                <a:ea typeface="SimSun" panose="02010600030101010101" pitchFamily="2" charset="-122"/>
                <a:cs typeface="Calibri" panose="020F0502020204030204" pitchFamily="34" charset="0"/>
              </a:rPr>
              <a:t>In addition, in some countries, advance plans can also be used as a legal document in which the person authorizes – or refuses – certain actions to be undertaken in a particular situation in the future. </a:t>
            </a:r>
            <a:endParaRPr lang="en-CH">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spcAft>
                <a:spcPts val="601"/>
              </a:spcAft>
              <a:buFont typeface="Symbol" panose="05050102010706020507" pitchFamily="18" charset="2"/>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343414" indent="-343414" algn="just">
              <a:lnSpc>
                <a:spcPct val="115000"/>
              </a:lnSpc>
              <a:spcAft>
                <a:spcPts val="6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At the same time, it is important to be aware that advance plans are not a static, non-changing document. </a:t>
            </a:r>
          </a:p>
          <a:p>
            <a:pPr marL="801300" lvl="1" indent="-343414" algn="just">
              <a:lnSpc>
                <a:spcPct val="115000"/>
              </a:lnSpc>
              <a:spcAft>
                <a:spcPts val="6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People’s views, will and preferences may evolve and people can and do change their minds about things. </a:t>
            </a:r>
          </a:p>
          <a:p>
            <a:pPr marL="801300" lvl="1" indent="-343414" algn="just">
              <a:lnSpc>
                <a:spcPct val="115000"/>
              </a:lnSpc>
              <a:spcAft>
                <a:spcPts val="6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Supporters should therefore engage and consult with the person on a regular basis to determine if their will and preferences have changed and if they agree with the actions being proposed. </a:t>
            </a:r>
            <a:endParaRPr lang="en-CH">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Advance plans are sometimes also known as living wills or advance directives.</a:t>
            </a:r>
            <a:endParaRPr lang="en-CH">
              <a:latin typeface="Calibri" panose="020F0502020204030204" pitchFamily="34" charset="0"/>
              <a:ea typeface="SimSun" panose="02010600030101010101" pitchFamily="2" charset="-122"/>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8</a:t>
            </a:fld>
            <a:endParaRPr lang="en-GB"/>
          </a:p>
        </p:txBody>
      </p:sp>
    </p:spTree>
    <p:extLst>
      <p:ext uri="{BB962C8B-B14F-4D97-AF65-F5344CB8AC3E}">
        <p14:creationId xmlns:p14="http://schemas.microsoft.com/office/powerpoint/2010/main" val="15840659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a:extLst>
              <a:ext uri="{FF2B5EF4-FFF2-40B4-BE49-F238E27FC236}">
                <a16:creationId xmlns:a16="http://schemas.microsoft.com/office/drawing/2014/main" id="{79C8F737-C34D-420A-A783-E26AE639CC4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513">
              <a:defRPr sz="2400">
                <a:solidFill>
                  <a:schemeClr val="tx1"/>
                </a:solidFill>
                <a:latin typeface="Arial" panose="020B0604020202020204" pitchFamily="34" charset="0"/>
                <a:ea typeface="ＭＳ Ｐゴシック" panose="020B0600070205080204" pitchFamily="34" charset="-128"/>
              </a:defRPr>
            </a:lvl1pPr>
            <a:lvl2pPr marL="37923788" indent="-37466588" defTabSz="925513">
              <a:defRPr sz="2400">
                <a:solidFill>
                  <a:schemeClr val="tx1"/>
                </a:solidFill>
                <a:latin typeface="Arial" panose="020B0604020202020204" pitchFamily="34" charset="0"/>
                <a:ea typeface="ＭＳ Ｐゴシック" panose="020B0600070205080204" pitchFamily="34" charset="-128"/>
              </a:defRPr>
            </a:lvl2pPr>
            <a:lvl3pPr marL="1141413" indent="-227013" defTabSz="925513">
              <a:defRPr sz="2400">
                <a:solidFill>
                  <a:schemeClr val="tx1"/>
                </a:solidFill>
                <a:latin typeface="Arial" panose="020B0604020202020204" pitchFamily="34" charset="0"/>
                <a:ea typeface="ＭＳ Ｐゴシック" panose="020B0600070205080204" pitchFamily="34" charset="-128"/>
              </a:defRPr>
            </a:lvl3pPr>
            <a:lvl4pPr marL="1598613" indent="-227013" defTabSz="925513">
              <a:defRPr sz="2400">
                <a:solidFill>
                  <a:schemeClr val="tx1"/>
                </a:solidFill>
                <a:latin typeface="Arial" panose="020B0604020202020204" pitchFamily="34" charset="0"/>
                <a:ea typeface="ＭＳ Ｐゴシック" panose="020B0600070205080204" pitchFamily="34" charset="-128"/>
              </a:defRPr>
            </a:lvl4pPr>
            <a:lvl5pPr marL="2055813" indent="-227013" defTabSz="925513">
              <a:defRPr sz="2400">
                <a:solidFill>
                  <a:schemeClr val="tx1"/>
                </a:solidFill>
                <a:latin typeface="Arial" panose="020B0604020202020204" pitchFamily="34" charset="0"/>
                <a:ea typeface="ＭＳ Ｐゴシック" panose="020B0600070205080204" pitchFamily="34" charset="-128"/>
              </a:defRPr>
            </a:lvl5pPr>
            <a:lvl6pPr marL="2513013" indent="-227013" defTabSz="9255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0213" indent="-227013" defTabSz="9255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7413" indent="-227013" defTabSz="9255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4613" indent="-227013" defTabSz="9255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r" defTabSz="925513" rtl="0" eaLnBrk="1" fontAlgn="base" latinLnBrk="0" hangingPunct="1">
              <a:lnSpc>
                <a:spcPct val="100000"/>
              </a:lnSpc>
              <a:spcBef>
                <a:spcPct val="0"/>
              </a:spcBef>
              <a:spcAft>
                <a:spcPct val="0"/>
              </a:spcAft>
              <a:buClrTx/>
              <a:buSzTx/>
              <a:buFontTx/>
              <a:buNone/>
              <a:tabLst/>
              <a:defRPr/>
            </a:pPr>
            <a:fld id="{4A5183E1-D7F9-4065-9B43-5B92354FCCC6}" type="slidenum">
              <a:rPr kumimoji="0" lang="en-GB" altLang="en-US" sz="12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pPr marL="0" marR="0" lvl="0" indent="0" algn="r" defTabSz="925513" rtl="0" eaLnBrk="1" fontAlgn="base" latinLnBrk="0" hangingPunct="1">
                <a:lnSpc>
                  <a:spcPct val="100000"/>
                </a:lnSpc>
                <a:spcBef>
                  <a:spcPct val="0"/>
                </a:spcBef>
                <a:spcAft>
                  <a:spcPct val="0"/>
                </a:spcAft>
                <a:buClrTx/>
                <a:buSzTx/>
                <a:buFontTx/>
                <a:buNone/>
                <a:tabLst/>
                <a:defRPr/>
              </a:pPr>
              <a:t>34</a:t>
            </a:fld>
            <a:endParaRPr kumimoji="0" lang="en-GB" altLang="en-US" sz="12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p:txBody>
      </p:sp>
      <p:sp>
        <p:nvSpPr>
          <p:cNvPr id="5123" name="Rectangle 2">
            <a:extLst>
              <a:ext uri="{FF2B5EF4-FFF2-40B4-BE49-F238E27FC236}">
                <a16:creationId xmlns:a16="http://schemas.microsoft.com/office/drawing/2014/main" id="{52C6B8E2-FE09-4A4E-972F-FFC58222E24F}"/>
              </a:ext>
            </a:extLst>
          </p:cNvPr>
          <p:cNvSpPr>
            <a:spLocks noGrp="1" noRot="1" noChangeAspect="1" noChangeArrowheads="1" noTextEdit="1"/>
          </p:cNvSpPr>
          <p:nvPr>
            <p:ph type="sldImg"/>
          </p:nvPr>
        </p:nvSpPr>
        <p:spPr>
          <a:xfrm>
            <a:off x="92075" y="746125"/>
            <a:ext cx="6624638" cy="3727450"/>
          </a:xfrm>
          <a:ln/>
        </p:spPr>
      </p:sp>
      <p:sp>
        <p:nvSpPr>
          <p:cNvPr id="5124" name="Rectangle 3">
            <a:extLst>
              <a:ext uri="{FF2B5EF4-FFF2-40B4-BE49-F238E27FC236}">
                <a16:creationId xmlns:a16="http://schemas.microsoft.com/office/drawing/2014/main" id="{8EE9D01D-471C-4F04-A3BA-B46E097F121E}"/>
              </a:ext>
            </a:extLst>
          </p:cNvPr>
          <p:cNvSpPr>
            <a:spLocks noGrp="1" noChangeArrowheads="1"/>
          </p:cNvSpPr>
          <p:nvPr>
            <p:ph type="body" idx="1"/>
          </p:nvPr>
        </p:nvSpPr>
        <p:spPr>
          <a:xfrm>
            <a:off x="681038" y="4722813"/>
            <a:ext cx="5446712" cy="383017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85750" indent="-285750">
              <a:buFont typeface="Arial" panose="020B0604020202020204" pitchFamily="34" charset="0"/>
              <a:buChar char="•"/>
            </a:pPr>
            <a:r>
              <a:rPr lang="en-US" altLang="en-US" sz="1400" dirty="0">
                <a:latin typeface="Times New Roman" panose="02020603050405020304" pitchFamily="18" charset="0"/>
                <a:ea typeface="ＭＳ Ｐゴシック" panose="020B0600070205080204" pitchFamily="34" charset="-128"/>
              </a:rPr>
              <a:t>You can find the link to access the QR </a:t>
            </a:r>
            <a:r>
              <a:rPr lang="en-US" altLang="en-US" sz="1400" dirty="0" err="1">
                <a:latin typeface="Times New Roman" panose="02020603050405020304" pitchFamily="18" charset="0"/>
                <a:ea typeface="ＭＳ Ｐゴシック" panose="020B0600070205080204" pitchFamily="34" charset="-128"/>
              </a:rPr>
              <a:t>etraining</a:t>
            </a:r>
            <a:r>
              <a:rPr lang="en-US" altLang="en-US" sz="1400" dirty="0">
                <a:latin typeface="Times New Roman" panose="02020603050405020304" pitchFamily="18" charset="0"/>
                <a:ea typeface="ＭＳ Ｐゴシック" panose="020B0600070205080204" pitchFamily="34" charset="-128"/>
              </a:rPr>
              <a:t> on this slide</a:t>
            </a:r>
          </a:p>
          <a:p>
            <a:pPr marL="285750" indent="-285750">
              <a:buFont typeface="Arial" panose="020B0604020202020204" pitchFamily="34" charset="0"/>
              <a:buChar char="•"/>
            </a:pPr>
            <a:r>
              <a:rPr lang="en-US" altLang="en-US" sz="1400" dirty="0">
                <a:latin typeface="Times New Roman" panose="02020603050405020304" pitchFamily="18" charset="0"/>
                <a:ea typeface="ＭＳ Ｐゴシック" panose="020B0600070205080204" pitchFamily="34" charset="-128"/>
              </a:rPr>
              <a:t>We encourage you to take the course and to share </a:t>
            </a:r>
            <a:r>
              <a:rPr lang="en-US" sz="1400" dirty="0">
                <a:effectLst/>
                <a:latin typeface="Calibri" panose="020F0502020204030204" pitchFamily="34" charset="0"/>
                <a:ea typeface="Calibri" panose="020F0502020204030204" pitchFamily="34" charset="0"/>
                <a:cs typeface="Times New Roman" panose="02020603050405020304" pitchFamily="18" charset="0"/>
              </a:rPr>
              <a:t>the e-training widely among your colleagues, networks, family and friends!</a:t>
            </a:r>
            <a:endParaRPr lang="en-US" altLang="en-US" sz="1400" dirty="0">
              <a:latin typeface="Times New Roman" panose="02020603050405020304" pitchFamily="18" charset="0"/>
              <a:ea typeface="ＭＳ Ｐゴシック" panose="020B0600070205080204" pitchFamily="34" charset="-128"/>
            </a:endParaRPr>
          </a:p>
        </p:txBody>
      </p:sp>
    </p:spTree>
    <p:extLst>
      <p:ext uri="{BB962C8B-B14F-4D97-AF65-F5344CB8AC3E}">
        <p14:creationId xmlns:p14="http://schemas.microsoft.com/office/powerpoint/2010/main" val="3757406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Special attention should be paid to women, who suffer disproportionately from mental health practices that are based on paternalistic and patriarchal traditions, inappropriate and harmful gender stereotypes, medicalization of women’s feelings and behaviour, and coercion. </a:t>
            </a:r>
          </a:p>
          <a:p>
            <a:r>
              <a:rPr lang="en-US" dirty="0"/>
              <a:t>1. </a:t>
            </a:r>
            <a:r>
              <a:rPr lang="en-US" sz="1200" kern="1200" dirty="0">
                <a:solidFill>
                  <a:schemeClr val="tx1"/>
                </a:solidFill>
                <a:latin typeface="+mn-lt"/>
                <a:ea typeface="+mn-ea"/>
                <a:cs typeface="+mn-cs"/>
              </a:rPr>
              <a:t>UN Human Rights Council. Report of the special rapporteur on the right of everyone to the enjoyment of the highest attainable standard of physical and mental health. A/HRC/35/21. United Nations.</a:t>
            </a:r>
          </a:p>
          <a:p>
            <a:r>
              <a:rPr lang="en-US" sz="1200" kern="1200" dirty="0">
                <a:solidFill>
                  <a:schemeClr val="tx1"/>
                </a:solidFill>
                <a:latin typeface="+mn-lt"/>
                <a:ea typeface="+mn-ea"/>
                <a:cs typeface="+mn-cs"/>
                <a:hlinkClick r:id="rId3"/>
              </a:rPr>
              <a:t>http://ap.ohchr.org/documents/dpage_e.aspx?si=A/HRC/35/21</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7CD9E98-75AB-B644-91EB-BA680FD6115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870600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Plassholder for lysbilde 1"/>
          <p:cNvSpPr>
            <a:spLocks noGrp="1" noRot="1" noChangeAspect="1" noTextEdit="1"/>
          </p:cNvSpPr>
          <p:nvPr>
            <p:ph type="sldImg"/>
          </p:nvPr>
        </p:nvSpPr>
        <p:spPr bwMode="auto">
          <a:noFill/>
          <a:ln>
            <a:solidFill>
              <a:srgbClr val="000000"/>
            </a:solidFill>
            <a:miter lim="800000"/>
            <a:headEnd/>
            <a:tailEnd/>
          </a:ln>
        </p:spPr>
      </p:sp>
      <p:sp>
        <p:nvSpPr>
          <p:cNvPr id="25603" name="Plassholder for notat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nb-NO" dirty="0"/>
          </a:p>
          <a:p>
            <a:pPr eaLnBrk="1" hangingPunct="1">
              <a:spcBef>
                <a:spcPct val="0"/>
              </a:spcBef>
            </a:pPr>
            <a:endParaRPr lang="nb-NO" dirty="0"/>
          </a:p>
        </p:txBody>
      </p:sp>
      <p:sp>
        <p:nvSpPr>
          <p:cNvPr id="22532" name="Plassholder for lysbilde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518EFC3-AD0D-4D8D-9EC3-BF2822E1085A}"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21806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t>WHO is working to improve the quality of care provided by mental health services and promote the human rights of people with psychosocial, intellectual, and cognitive disabilities. </a:t>
            </a:r>
          </a:p>
          <a:p>
            <a:r>
              <a:rPr lang="en-US" dirty="0"/>
              <a:t>3.</a:t>
            </a:r>
            <a:r>
              <a:rPr lang="en-US" sz="1200" kern="1200" dirty="0">
                <a:solidFill>
                  <a:schemeClr val="tx1"/>
                </a:solidFill>
                <a:latin typeface="+mn-lt"/>
                <a:ea typeface="+mn-ea"/>
                <a:cs typeface="+mn-cs"/>
              </a:rPr>
              <a:t> WHO. ((accessed June 8, 2017).)WHO QualityRights initiative – improving quality, promoting human rights. World Health Organization, ; 2017</a:t>
            </a:r>
          </a:p>
          <a:p>
            <a:r>
              <a:rPr lang="en-US" sz="1200" kern="1200" dirty="0">
                <a:solidFill>
                  <a:schemeClr val="tx1"/>
                </a:solidFill>
                <a:latin typeface="+mn-lt"/>
                <a:ea typeface="+mn-ea"/>
                <a:cs typeface="+mn-cs"/>
                <a:hlinkClick r:id="rId3"/>
              </a:rPr>
              <a:t>http://www.who.int/mental_health/policy/quality_rights/en/</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7CD9E98-75AB-B644-91EB-BA680FD6115A}" type="slidenum">
              <a:rPr kumimoji="0" lang="en-US" sz="1200" b="0" i="0" u="none" strike="noStrike" kern="1200" cap="none" spc="0" normalizeH="0" baseline="0" noProof="0" smtClean="0">
                <a:ln>
                  <a:noFill/>
                </a:ln>
                <a:solidFill>
                  <a:prstClr val="black"/>
                </a:solidFill>
                <a:effectLst/>
                <a:uLnTx/>
                <a:uFillTx/>
                <a:latin typeface="Calibri"/>
                <a:ea typeface="Arial Unicode MS"/>
                <a:cs typeface="Arial Unicode M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Arial Unicode MS"/>
              <a:cs typeface="Arial Unicode MS"/>
            </a:endParaRPr>
          </a:p>
        </p:txBody>
      </p:sp>
    </p:spTree>
    <p:extLst>
      <p:ext uri="{BB962C8B-B14F-4D97-AF65-F5344CB8AC3E}">
        <p14:creationId xmlns:p14="http://schemas.microsoft.com/office/powerpoint/2010/main" val="2530153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t>WHO is working to improve the quality of care provided by mental health services and promote the human rights of people with psychosocial, intellectual, and cognitive disabilities. </a:t>
            </a:r>
          </a:p>
          <a:p>
            <a:r>
              <a:rPr lang="en-US" dirty="0"/>
              <a:t>3.</a:t>
            </a:r>
            <a:r>
              <a:rPr lang="en-US" sz="1200" kern="1200" dirty="0">
                <a:solidFill>
                  <a:schemeClr val="tx1"/>
                </a:solidFill>
                <a:latin typeface="+mn-lt"/>
                <a:ea typeface="+mn-ea"/>
                <a:cs typeface="+mn-cs"/>
              </a:rPr>
              <a:t> WHO. ((accessed June 8, 2017).)WHO QualityRights initiative – improving quality, promoting human rights. World Health Organization, ; 2017</a:t>
            </a:r>
          </a:p>
          <a:p>
            <a:r>
              <a:rPr lang="en-US" sz="1200" kern="1200" dirty="0">
                <a:solidFill>
                  <a:schemeClr val="tx1"/>
                </a:solidFill>
                <a:latin typeface="+mn-lt"/>
                <a:ea typeface="+mn-ea"/>
                <a:cs typeface="+mn-cs"/>
                <a:hlinkClick r:id="rId3"/>
              </a:rPr>
              <a:t>http://www.who.int/mental_health/policy/quality_rights/en/</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7CD9E98-75AB-B644-91EB-BA680FD6115A}" type="slidenum">
              <a:rPr kumimoji="0" lang="en-US" sz="1200" b="0" i="0" u="none" strike="noStrike" kern="1200" cap="none" spc="0" normalizeH="0" baseline="0" noProof="0" smtClean="0">
                <a:ln>
                  <a:noFill/>
                </a:ln>
                <a:solidFill>
                  <a:prstClr val="black"/>
                </a:solidFill>
                <a:effectLst/>
                <a:uLnTx/>
                <a:uFillTx/>
                <a:latin typeface="Calibri"/>
                <a:ea typeface="Arial Unicode MS"/>
                <a:cs typeface="Arial Unicode M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Arial Unicode MS"/>
              <a:cs typeface="Arial Unicode MS"/>
            </a:endParaRPr>
          </a:p>
        </p:txBody>
      </p:sp>
    </p:spTree>
    <p:extLst>
      <p:ext uri="{BB962C8B-B14F-4D97-AF65-F5344CB8AC3E}">
        <p14:creationId xmlns:p14="http://schemas.microsoft.com/office/powerpoint/2010/main" val="3809384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4. </a:t>
            </a:r>
            <a:r>
              <a:rPr lang="en-US" sz="1200" i="1" kern="1200" dirty="0">
                <a:solidFill>
                  <a:schemeClr val="tx1"/>
                </a:solidFill>
                <a:effectLst/>
                <a:latin typeface="+mn-lt"/>
                <a:ea typeface="+mn-ea"/>
                <a:cs typeface="+mn-cs"/>
              </a:rPr>
              <a:t>WHO QualityRights tool kit to assess and improve quality and human rights in mental health and social care facilities</a:t>
            </a:r>
            <a:r>
              <a:rPr lang="en-US" sz="1200" kern="1200" dirty="0">
                <a:solidFill>
                  <a:schemeClr val="tx1"/>
                </a:solidFill>
                <a:effectLst/>
                <a:latin typeface="+mn-lt"/>
                <a:ea typeface="+mn-ea"/>
                <a:cs typeface="+mn-cs"/>
              </a:rPr>
              <a:t>. Geneva, World Health Organization, 2012.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7CD9E98-75AB-B644-91EB-BA680FD6115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891682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80" y="4784069"/>
            <a:ext cx="5447030" cy="3914240"/>
          </a:xfrm>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91600A8A-902E-430E-A833-453AE05FDB61}" type="slidenum">
              <a:rPr kumimoji="0" lang="en-GB" sz="1300" b="0" i="0" u="none" strike="noStrike" kern="1200" cap="none" spc="0" normalizeH="0" baseline="0" noProof="0" smtClean="0">
                <a:ln>
                  <a:noFill/>
                </a:ln>
                <a:solidFill>
                  <a:prstClr val="black"/>
                </a:solidFill>
                <a:effectLst/>
                <a:uLnTx/>
                <a:uFillTx/>
                <a:latin typeface="Calibri Light"/>
                <a:ea typeface="Arial Unicode MS"/>
                <a:cs typeface="Arial Unicode MS"/>
              </a:rPr>
              <a:pPr marL="0" marR="0" lvl="0" indent="0" algn="r" defTabSz="228600" rtl="0" eaLnBrk="1" fontAlgn="auto" latinLnBrk="0" hangingPunct="1">
                <a:lnSpc>
                  <a:spcPct val="100000"/>
                </a:lnSpc>
                <a:spcBef>
                  <a:spcPts val="0"/>
                </a:spcBef>
                <a:spcAft>
                  <a:spcPts val="0"/>
                </a:spcAft>
                <a:buClrTx/>
                <a:buSzTx/>
                <a:buFontTx/>
                <a:buNone/>
                <a:tabLst/>
                <a:defRPr/>
              </a:pPr>
              <a:t>13</a:t>
            </a:fld>
            <a:endParaRPr kumimoji="0" lang="en-GB" sz="1300" b="0" i="0" u="none" strike="noStrike" kern="1200" cap="none" spc="0" normalizeH="0" baseline="0" noProof="0">
              <a:ln>
                <a:noFill/>
              </a:ln>
              <a:solidFill>
                <a:prstClr val="black"/>
              </a:solidFill>
              <a:effectLst/>
              <a:uLnTx/>
              <a:uFillTx/>
              <a:latin typeface="Calibri Light"/>
              <a:ea typeface="Arial Unicode MS"/>
              <a:cs typeface="Arial Unicode MS"/>
            </a:endParaRPr>
          </a:p>
        </p:txBody>
      </p:sp>
    </p:spTree>
    <p:extLst>
      <p:ext uri="{BB962C8B-B14F-4D97-AF65-F5344CB8AC3E}">
        <p14:creationId xmlns:p14="http://schemas.microsoft.com/office/powerpoint/2010/main" val="41213045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0A59C1-2D98-4297-91D0-BBB9964FC570}"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44896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91600A8A-902E-430E-A833-453AE05FDB61}" type="slidenum">
              <a:rPr kumimoji="0" lang="en-GB" sz="1300" b="0" i="0" u="none" strike="noStrike" kern="1200" cap="none" spc="0" normalizeH="0" baseline="0" noProof="0" smtClean="0">
                <a:ln>
                  <a:noFill/>
                </a:ln>
                <a:solidFill>
                  <a:prstClr val="black"/>
                </a:solidFill>
                <a:effectLst/>
                <a:uLnTx/>
                <a:uFillTx/>
                <a:latin typeface="Calibri Light"/>
                <a:ea typeface="Arial Unicode MS"/>
                <a:cs typeface="Arial Unicode MS"/>
              </a:rPr>
              <a:pPr marL="0" marR="0" lvl="0" indent="0" algn="r" defTabSz="228600" rtl="0" eaLnBrk="1" fontAlgn="auto" latinLnBrk="0" hangingPunct="1">
                <a:lnSpc>
                  <a:spcPct val="100000"/>
                </a:lnSpc>
                <a:spcBef>
                  <a:spcPts val="0"/>
                </a:spcBef>
                <a:spcAft>
                  <a:spcPts val="0"/>
                </a:spcAft>
                <a:buClrTx/>
                <a:buSzTx/>
                <a:buFontTx/>
                <a:buNone/>
                <a:tabLst/>
                <a:defRPr/>
              </a:pPr>
              <a:t>15</a:t>
            </a:fld>
            <a:endParaRPr kumimoji="0" lang="en-GB" sz="1300" b="0" i="0" u="none" strike="noStrike" kern="1200" cap="none" spc="0" normalizeH="0" baseline="0" noProof="0">
              <a:ln>
                <a:noFill/>
              </a:ln>
              <a:solidFill>
                <a:prstClr val="black"/>
              </a:solidFill>
              <a:effectLst/>
              <a:uLnTx/>
              <a:uFillTx/>
              <a:latin typeface="Calibri Light"/>
              <a:ea typeface="Arial Unicode MS"/>
              <a:cs typeface="Arial Unicode MS"/>
            </a:endParaRPr>
          </a:p>
        </p:txBody>
      </p:sp>
    </p:spTree>
    <p:extLst>
      <p:ext uri="{BB962C8B-B14F-4D97-AF65-F5344CB8AC3E}">
        <p14:creationId xmlns:p14="http://schemas.microsoft.com/office/powerpoint/2010/main" val="325165000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vmlDrawing" Target="../drawings/vmlDrawing2.vml"/><Relationship Id="rId1" Type="http://schemas.openxmlformats.org/officeDocument/2006/relationships/themeOverride" Target="../theme/themeOverride1.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8.xml"/><Relationship Id="rId7" Type="http://schemas.openxmlformats.org/officeDocument/2006/relationships/image" Target="../media/image3.png"/><Relationship Id="rId2" Type="http://schemas.openxmlformats.org/officeDocument/2006/relationships/vmlDrawing" Target="../drawings/vmlDrawing9.vml"/><Relationship Id="rId1" Type="http://schemas.openxmlformats.org/officeDocument/2006/relationships/themeOverride" Target="../theme/themeOverride10.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vmlDrawing" Target="../drawings/vmlDrawing10.vml"/><Relationship Id="rId1" Type="http://schemas.openxmlformats.org/officeDocument/2006/relationships/themeOverride" Target="../theme/themeOverride12.x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vmlDrawing" Target="../drawings/vmlDrawing11.vml"/><Relationship Id="rId1" Type="http://schemas.openxmlformats.org/officeDocument/2006/relationships/themeOverride" Target="../theme/themeOverride13.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vmlDrawing" Target="../drawings/vmlDrawing12.vml"/><Relationship Id="rId1" Type="http://schemas.openxmlformats.org/officeDocument/2006/relationships/themeOverride" Target="../theme/themeOverride15.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vmlDrawing" Target="../drawings/vmlDrawing13.vml"/><Relationship Id="rId1" Type="http://schemas.openxmlformats.org/officeDocument/2006/relationships/themeOverride" Target="../theme/themeOverride17.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5.emf"/><Relationship Id="rId2" Type="http://schemas.openxmlformats.org/officeDocument/2006/relationships/vmlDrawing" Target="../drawings/vmlDrawing14.vml"/><Relationship Id="rId1" Type="http://schemas.openxmlformats.org/officeDocument/2006/relationships/themeOverride" Target="../theme/themeOverride18.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vmlDrawing" Target="../drawings/vmlDrawing3.vml"/><Relationship Id="rId1" Type="http://schemas.openxmlformats.org/officeDocument/2006/relationships/themeOverride" Target="../theme/themeOverride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vmlDrawing" Target="../drawings/vmlDrawing16.vml"/><Relationship Id="rId1" Type="http://schemas.openxmlformats.org/officeDocument/2006/relationships/themeOverride" Target="../theme/themeOverride19.x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29.xml"/><Relationship Id="rId9"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hemeOverride" Target="../theme/themeOverride20.xml"/><Relationship Id="rId4"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vmlDrawing" Target="../drawings/vmlDrawing17.vml"/><Relationship Id="rId1" Type="http://schemas.openxmlformats.org/officeDocument/2006/relationships/themeOverride" Target="../theme/themeOverride21.xml"/><Relationship Id="rId6" Type="http://schemas.openxmlformats.org/officeDocument/2006/relationships/oleObject" Target="../embeddings/oleObject17.bin"/><Relationship Id="rId5" Type="http://schemas.openxmlformats.org/officeDocument/2006/relationships/slideMaster" Target="../slideMasters/slideMaster3.xml"/><Relationship Id="rId4" Type="http://schemas.openxmlformats.org/officeDocument/2006/relationships/tags" Target="../tags/tag3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vmlDrawing" Target="../drawings/vmlDrawing18.vml"/><Relationship Id="rId1" Type="http://schemas.openxmlformats.org/officeDocument/2006/relationships/themeOverride" Target="../theme/themeOverride22.x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vmlDrawing" Target="../drawings/vmlDrawing19.vml"/><Relationship Id="rId1" Type="http://schemas.openxmlformats.org/officeDocument/2006/relationships/themeOverride" Target="../theme/themeOverride23.x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4.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vmlDrawing" Target="../drawings/vmlDrawing20.vml"/><Relationship Id="rId1" Type="http://schemas.openxmlformats.org/officeDocument/2006/relationships/themeOverride" Target="../theme/themeOverride25.x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vmlDrawing" Target="../drawings/vmlDrawing21.vml"/><Relationship Id="rId1" Type="http://schemas.openxmlformats.org/officeDocument/2006/relationships/themeOverride" Target="../theme/themeOverride26.x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7.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xml"/><Relationship Id="rId7" Type="http://schemas.openxmlformats.org/officeDocument/2006/relationships/oleObject" Target="../embeddings/oleObject4.bin"/><Relationship Id="rId2" Type="http://schemas.openxmlformats.org/officeDocument/2006/relationships/vmlDrawing" Target="../drawings/vmlDrawing4.vml"/><Relationship Id="rId1" Type="http://schemas.openxmlformats.org/officeDocument/2006/relationships/themeOverride" Target="../theme/themeOverride4.xml"/><Relationship Id="rId6" Type="http://schemas.openxmlformats.org/officeDocument/2006/relationships/slideMaster" Target="../slideMasters/slideMaster1.xml"/><Relationship Id="rId5" Type="http://schemas.openxmlformats.org/officeDocument/2006/relationships/tags" Target="../tags/tag10.xml"/><Relationship Id="rId4" Type="http://schemas.openxmlformats.org/officeDocument/2006/relationships/tags" Target="../tags/tag9.xml"/><Relationship Id="rId9"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6.xml"/><Relationship Id="rId7" Type="http://schemas.openxmlformats.org/officeDocument/2006/relationships/image" Target="../media/image2.png"/><Relationship Id="rId2" Type="http://schemas.openxmlformats.org/officeDocument/2006/relationships/vmlDrawing" Target="../drawings/vmlDrawing22.vml"/><Relationship Id="rId1" Type="http://schemas.openxmlformats.org/officeDocument/2006/relationships/themeOverride" Target="../theme/themeOverride28.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9.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vmlDrawing" Target="../drawings/vmlDrawing23.vml"/><Relationship Id="rId1" Type="http://schemas.openxmlformats.org/officeDocument/2006/relationships/themeOverride" Target="../theme/themeOverride30.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5.emf"/><Relationship Id="rId2" Type="http://schemas.openxmlformats.org/officeDocument/2006/relationships/vmlDrawing" Target="../drawings/vmlDrawing24.vml"/><Relationship Id="rId1" Type="http://schemas.openxmlformats.org/officeDocument/2006/relationships/themeOverride" Target="../theme/themeOverride31.xml"/><Relationship Id="rId6" Type="http://schemas.openxmlformats.org/officeDocument/2006/relationships/oleObject" Target="../embeddings/oleObject24.bin"/><Relationship Id="rId5" Type="http://schemas.openxmlformats.org/officeDocument/2006/relationships/slideMaster" Target="../slideMasters/slideMaster3.xml"/><Relationship Id="rId4" Type="http://schemas.openxmlformats.org/officeDocument/2006/relationships/tags" Target="../tags/tag3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vmlDrawing" Target="../drawings/vmlDrawing26.vml"/><Relationship Id="rId1" Type="http://schemas.openxmlformats.org/officeDocument/2006/relationships/themeOverride" Target="../theme/themeOverride32.xml"/><Relationship Id="rId6" Type="http://schemas.openxmlformats.org/officeDocument/2006/relationships/oleObject" Target="../embeddings/oleObject26.bin"/><Relationship Id="rId5" Type="http://schemas.openxmlformats.org/officeDocument/2006/relationships/slideMaster" Target="../slideMasters/slideMaster4.xml"/><Relationship Id="rId4" Type="http://schemas.openxmlformats.org/officeDocument/2006/relationships/tags" Target="../tags/tag44.xml"/><Relationship Id="rId9"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hemeOverride" Target="../theme/themeOverride33.xml"/><Relationship Id="rId4"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hemeOverride" Target="../theme/themeOverride34.xml"/><Relationship Id="rId4" Type="http://schemas.openxmlformats.org/officeDocument/2006/relationships/image" Target="../media/image2.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5.xml"/><Relationship Id="rId7" Type="http://schemas.openxmlformats.org/officeDocument/2006/relationships/image" Target="../media/image2.png"/><Relationship Id="rId2" Type="http://schemas.openxmlformats.org/officeDocument/2006/relationships/vmlDrawing" Target="../drawings/vmlDrawing27.vml"/><Relationship Id="rId1" Type="http://schemas.openxmlformats.org/officeDocument/2006/relationships/themeOverride" Target="../theme/themeOverride35.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6.xml"/><Relationship Id="rId7" Type="http://schemas.openxmlformats.org/officeDocument/2006/relationships/image" Target="../media/image3.png"/><Relationship Id="rId2" Type="http://schemas.openxmlformats.org/officeDocument/2006/relationships/vmlDrawing" Target="../drawings/vmlDrawing28.vml"/><Relationship Id="rId1" Type="http://schemas.openxmlformats.org/officeDocument/2006/relationships/themeOverride" Target="../theme/themeOverride36.x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vmlDrawing" Target="../drawings/vmlDrawing5.vml"/><Relationship Id="rId1" Type="http://schemas.openxmlformats.org/officeDocument/2006/relationships/themeOverride" Target="../theme/themeOverride5.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7.xml"/><Relationship Id="rId7" Type="http://schemas.openxmlformats.org/officeDocument/2006/relationships/oleObject" Target="../embeddings/oleObject29.bin"/><Relationship Id="rId2" Type="http://schemas.openxmlformats.org/officeDocument/2006/relationships/vmlDrawing" Target="../drawings/vmlDrawing29.vml"/><Relationship Id="rId1" Type="http://schemas.openxmlformats.org/officeDocument/2006/relationships/themeOverride" Target="../theme/themeOverride37.xml"/><Relationship Id="rId6" Type="http://schemas.openxmlformats.org/officeDocument/2006/relationships/slideMaster" Target="../slideMasters/slideMaster4.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4.png"/></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vmlDrawing" Target="../drawings/vmlDrawing30.vml"/><Relationship Id="rId1" Type="http://schemas.openxmlformats.org/officeDocument/2006/relationships/themeOverride" Target="../theme/themeOverride38.x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5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vmlDrawing" Target="../drawings/vmlDrawing31.vml"/><Relationship Id="rId1" Type="http://schemas.openxmlformats.org/officeDocument/2006/relationships/themeOverride" Target="../theme/themeOverride39.xml"/><Relationship Id="rId6" Type="http://schemas.openxmlformats.org/officeDocument/2006/relationships/oleObject" Target="../embeddings/oleObject31.bin"/><Relationship Id="rId5" Type="http://schemas.openxmlformats.org/officeDocument/2006/relationships/slideMaster" Target="../slideMasters/slideMaster4.xml"/><Relationship Id="rId4" Type="http://schemas.openxmlformats.org/officeDocument/2006/relationships/tags" Target="../tags/tag53.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vmlDrawing" Target="../drawings/vmlDrawing32.vml"/><Relationship Id="rId1" Type="http://schemas.openxmlformats.org/officeDocument/2006/relationships/themeOverride" Target="../theme/themeOverride40.xml"/><Relationship Id="rId6" Type="http://schemas.openxmlformats.org/officeDocument/2006/relationships/oleObject" Target="../embeddings/oleObject32.bin"/><Relationship Id="rId5" Type="http://schemas.openxmlformats.org/officeDocument/2006/relationships/slideMaster" Target="../slideMasters/slideMaster4.xml"/><Relationship Id="rId4" Type="http://schemas.openxmlformats.org/officeDocument/2006/relationships/tags" Target="../tags/tag5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1.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vmlDrawing" Target="../drawings/vmlDrawing33.vml"/><Relationship Id="rId1" Type="http://schemas.openxmlformats.org/officeDocument/2006/relationships/themeOverride" Target="../theme/themeOverride42.xml"/><Relationship Id="rId6" Type="http://schemas.openxmlformats.org/officeDocument/2006/relationships/image" Target="../media/image5.emf"/><Relationship Id="rId5" Type="http://schemas.openxmlformats.org/officeDocument/2006/relationships/oleObject" Target="../embeddings/oleObject33.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vmlDrawing" Target="../drawings/vmlDrawing34.vml"/><Relationship Id="rId1" Type="http://schemas.openxmlformats.org/officeDocument/2006/relationships/themeOverride" Target="../theme/themeOverride43.x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4.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vmlDrawing" Target="../drawings/vmlDrawing35.vml"/><Relationship Id="rId1" Type="http://schemas.openxmlformats.org/officeDocument/2006/relationships/themeOverride" Target="../theme/themeOverride45.x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vmlDrawing" Target="../drawings/vmlDrawing36.vml"/><Relationship Id="rId1" Type="http://schemas.openxmlformats.org/officeDocument/2006/relationships/themeOverride" Target="../theme/themeOverride46.x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vmlDrawing" Target="../drawings/vmlDrawing6.vml"/><Relationship Id="rId1" Type="http://schemas.openxmlformats.org/officeDocument/2006/relationships/themeOverride" Target="../theme/themeOverride6.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7.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vmlDrawing" Target="../drawings/vmlDrawing37.vml"/><Relationship Id="rId1" Type="http://schemas.openxmlformats.org/officeDocument/2006/relationships/themeOverride" Target="../theme/themeOverride48.x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9.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vmlDrawing" Target="../drawings/vmlDrawing38.vml"/><Relationship Id="rId1" Type="http://schemas.openxmlformats.org/officeDocument/2006/relationships/themeOverride" Target="../theme/themeOverride50.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5.emf"/><Relationship Id="rId2" Type="http://schemas.openxmlformats.org/officeDocument/2006/relationships/vmlDrawing" Target="../drawings/vmlDrawing39.vml"/><Relationship Id="rId1" Type="http://schemas.openxmlformats.org/officeDocument/2006/relationships/themeOverride" Target="../theme/themeOverride51.xml"/><Relationship Id="rId6" Type="http://schemas.openxmlformats.org/officeDocument/2006/relationships/oleObject" Target="../embeddings/oleObject38.bin"/><Relationship Id="rId5" Type="http://schemas.openxmlformats.org/officeDocument/2006/relationships/slideMaster" Target="../slideMasters/slideMaster4.xml"/><Relationship Id="rId4" Type="http://schemas.openxmlformats.org/officeDocument/2006/relationships/tags" Target="../tags/tag6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vmlDrawing" Target="../drawings/vmlDrawing41.vml"/><Relationship Id="rId1" Type="http://schemas.openxmlformats.org/officeDocument/2006/relationships/themeOverride" Target="../theme/themeOverride52.xml"/><Relationship Id="rId6" Type="http://schemas.openxmlformats.org/officeDocument/2006/relationships/oleObject" Target="../embeddings/oleObject40.bin"/><Relationship Id="rId5" Type="http://schemas.openxmlformats.org/officeDocument/2006/relationships/slideMaster" Target="../slideMasters/slideMaster5.xml"/><Relationship Id="rId4" Type="http://schemas.openxmlformats.org/officeDocument/2006/relationships/tags" Target="../tags/tag68.xml"/><Relationship Id="rId9"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hemeOverride" Target="../theme/themeOverride53.xml"/><Relationship Id="rId4" Type="http://schemas.openxmlformats.org/officeDocument/2006/relationships/image" Target="../media/image2.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9.xml"/><Relationship Id="rId7" Type="http://schemas.openxmlformats.org/officeDocument/2006/relationships/image" Target="../media/image2.png"/><Relationship Id="rId2" Type="http://schemas.openxmlformats.org/officeDocument/2006/relationships/vmlDrawing" Target="../drawings/vmlDrawing42.vml"/><Relationship Id="rId1" Type="http://schemas.openxmlformats.org/officeDocument/2006/relationships/themeOverride" Target="../theme/themeOverride54.x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vmlDrawing" Target="../drawings/vmlDrawing7.vml"/><Relationship Id="rId1" Type="http://schemas.openxmlformats.org/officeDocument/2006/relationships/themeOverride" Target="../theme/themeOverride7.x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vmlDrawing" Target="../drawings/vmlDrawing43.vml"/><Relationship Id="rId1" Type="http://schemas.openxmlformats.org/officeDocument/2006/relationships/themeOverride" Target="../theme/themeOverride55.xml"/><Relationship Id="rId6" Type="http://schemas.openxmlformats.org/officeDocument/2006/relationships/image" Target="../media/image5.emf"/><Relationship Id="rId5" Type="http://schemas.openxmlformats.org/officeDocument/2006/relationships/oleObject" Target="../embeddings/oleObject42.bin"/><Relationship Id="rId4"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vmlDrawing" Target="../drawings/vmlDrawing44.vml"/><Relationship Id="rId1" Type="http://schemas.openxmlformats.org/officeDocument/2006/relationships/themeOverride" Target="../theme/themeOverride56.xml"/><Relationship Id="rId6" Type="http://schemas.openxmlformats.org/officeDocument/2006/relationships/oleObject" Target="../embeddings/oleObject40.bin"/><Relationship Id="rId5" Type="http://schemas.openxmlformats.org/officeDocument/2006/relationships/slideMaster" Target="../slideMasters/slideMaster5.xml"/><Relationship Id="rId4" Type="http://schemas.openxmlformats.org/officeDocument/2006/relationships/tags" Target="../tags/tag72.xml"/><Relationship Id="rId9" Type="http://schemas.openxmlformats.org/officeDocument/2006/relationships/image" Target="../media/image3.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8.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vmlDrawing" Target="../drawings/vmlDrawing8.vml"/><Relationship Id="rId1" Type="http://schemas.openxmlformats.org/officeDocument/2006/relationships/themeOverride" Target="../theme/themeOverride9.x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759976876"/>
      </p:ext>
    </p:extLst>
  </p:cSld>
  <p:clrMapOvr>
    <a:overrideClrMapping bg1="lt1" tx1="dk1" bg2="lt2" tx2="dk2" accent1="accent1" accent2="accent2" accent3="accent3" accent4="accent4" accent5="accent5" accent6="accent6" hlink="hlink" folHlink="folHlink"/>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3"/>
            </p:custDataLst>
            <p:extLst>
              <p:ext uri="{D42A27DB-BD31-4B8C-83A1-F6EECF244321}">
                <p14:modId xmlns:p14="http://schemas.microsoft.com/office/powerpoint/2010/main" val="2493457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5" imgW="360" imgH="360" progId="TCLayout.ActiveDocument.1">
                  <p:embed/>
                </p:oleObj>
              </mc:Choice>
              <mc:Fallback>
                <p:oleObj name="think-cell Slide" r:id="rId5" imgW="360" imgH="360" progId="TCLayout.ActiveDocument.1">
                  <p:embed/>
                  <p:pic>
                    <p:nvPicPr>
                      <p:cNvPr id="13" name="Objec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743BAC9B-92DB-0943-953A-CDD8B94C950B}"/>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11" name="Picture 10">
            <a:extLst>
              <a:ext uri="{FF2B5EF4-FFF2-40B4-BE49-F238E27FC236}">
                <a16:creationId xmlns:a16="http://schemas.microsoft.com/office/drawing/2014/main" id="{DE400620-BF18-F449-8186-530021EB6486}"/>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1678878223"/>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DB4DF69D-9676-48A4-9665-621E7C899CF3}" type="slidenum">
              <a:rPr lang="en-US" smtClean="0"/>
              <a:pPr/>
              <a:t>‹#›</a:t>
            </a:fld>
            <a:endParaRPr lang="en-US"/>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349481"/>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844634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766EB20B-6E07-40CD-9610-8509067025E0}"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910823253"/>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432706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8D0FA728-8260-4C2F-BD34-DE0A091495A5}" type="slidenum">
              <a:rPr lang="en-US" smtClean="0"/>
              <a:pPr/>
              <a:t>‹#›</a:t>
            </a:fld>
            <a:endParaRPr lang="en-US"/>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264343852"/>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p:txBody>
          <a:body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02D2E3F0-9556-40D5-9E7E-C8276249C65E}" type="slidenum">
              <a:rPr lang="en-US" smtClean="0"/>
              <a:pPr/>
              <a:t>‹#›</a:t>
            </a:fld>
            <a:endParaRPr lang="en-US"/>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41983779"/>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984950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t>Lonza Microbiome JV - media briefing  |  3 April 2019</a:t>
            </a:r>
          </a:p>
        </p:txBody>
      </p:sp>
      <p:sp>
        <p:nvSpPr>
          <p:cNvPr id="5" name="Slide Number Placeholder 4"/>
          <p:cNvSpPr>
            <a:spLocks noGrp="1"/>
          </p:cNvSpPr>
          <p:nvPr>
            <p:ph type="sldNum" sz="quarter" idx="12"/>
          </p:nvPr>
        </p:nvSpPr>
        <p:spPr/>
        <p:txBody>
          <a:bodyPr/>
          <a:lstStyle/>
          <a:p>
            <a:fld id="{F169E07F-9A80-405D-B06A-876E4D356B83}"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7358534"/>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Lonza Microbiome JV - media briefing  |  3 April 2019</a:t>
            </a:r>
          </a:p>
        </p:txBody>
      </p:sp>
      <p:sp>
        <p:nvSpPr>
          <p:cNvPr id="4" name="Slide Number Placeholder 3"/>
          <p:cNvSpPr>
            <a:spLocks noGrp="1"/>
          </p:cNvSpPr>
          <p:nvPr>
            <p:ph type="sldNum" sz="quarter" idx="12"/>
          </p:nvPr>
        </p:nvSpPr>
        <p:spPr/>
        <p:txBody>
          <a:bodyPr/>
          <a:lstStyle/>
          <a:p>
            <a:fld id="{6D047E35-150C-4319-9FA5-9DC1536F505F}" type="slidenum">
              <a:rPr lang="en-US" smtClean="0"/>
              <a:pPr/>
              <a:t>‹#›</a:t>
            </a:fld>
            <a:endParaRPr lang="en-US"/>
          </a:p>
        </p:txBody>
      </p:sp>
    </p:spTree>
    <p:extLst>
      <p:ext uri="{BB962C8B-B14F-4D97-AF65-F5344CB8AC3E}">
        <p14:creationId xmlns:p14="http://schemas.microsoft.com/office/powerpoint/2010/main" val="2663678965"/>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03351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t>Lonza Microbiome JV - media briefing  |  3 April 2019</a:t>
            </a:r>
          </a:p>
        </p:txBody>
      </p:sp>
      <p:sp>
        <p:nvSpPr>
          <p:cNvPr id="5" name="Slide Number Placeholder 4"/>
          <p:cNvSpPr>
            <a:spLocks noGrp="1"/>
          </p:cNvSpPr>
          <p:nvPr>
            <p:ph type="sldNum" sz="quarter" idx="12"/>
          </p:nvPr>
        </p:nvSpPr>
        <p:spPr/>
        <p:txBody>
          <a:bodyPr/>
          <a:lstStyle/>
          <a:p>
            <a:fld id="{C17884EE-EDE3-44F5-A102-3C97972BE00F}"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35110"/>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355667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6" imgW="360" imgH="360" progId="TCLayout.ActiveDocument.1">
                  <p:embed/>
                </p:oleObj>
              </mc:Choice>
              <mc:Fallback>
                <p:oleObj name="think-cell Slide" r:id="rId6" imgW="360" imgH="36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 name="Footer Placeholder 2"/>
          <p:cNvSpPr>
            <a:spLocks noGrp="1"/>
          </p:cNvSpPr>
          <p:nvPr>
            <p:ph type="ftr" sz="quarter" idx="11"/>
          </p:nvPr>
        </p:nvSpPr>
        <p:spPr/>
        <p:txBody>
          <a:bodyPr/>
          <a:lstStyle/>
          <a:p>
            <a:r>
              <a:rPr lang="en-US"/>
              <a:t>Lonza Microbiome JV - media briefing  |  3 April 2019</a:t>
            </a:r>
          </a:p>
        </p:txBody>
      </p:sp>
      <p:sp>
        <p:nvSpPr>
          <p:cNvPr id="4" name="Slide Number Placeholder 3"/>
          <p:cNvSpPr>
            <a:spLocks noGrp="1"/>
          </p:cNvSpPr>
          <p:nvPr>
            <p:ph type="sldNum" sz="quarter" idx="12"/>
          </p:nvPr>
        </p:nvSpPr>
        <p:spPr/>
        <p:txBody>
          <a:bodyPr/>
          <a:lstStyle/>
          <a:p>
            <a:fld id="{082FAF88-7A9D-4D47-9197-6E5F7D59321B}" type="slidenum">
              <a:rPr lang="en-US" smtClean="0"/>
              <a:pPr/>
              <a:t>‹#›</a:t>
            </a:fld>
            <a:endParaRPr lang="en-US"/>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3904869767"/>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6/1/2022</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41214260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3431199365"/>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GB"/>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endParaRPr lang="en-US"/>
          </a:p>
        </p:txBody>
      </p:sp>
      <p:sp>
        <p:nvSpPr>
          <p:cNvPr id="4" name="Date Placeholder 3"/>
          <p:cNvSpPr>
            <a:spLocks noGrp="1"/>
          </p:cNvSpPr>
          <p:nvPr>
            <p:ph type="dt" sz="half" idx="10"/>
          </p:nvPr>
        </p:nvSpPr>
        <p:spPr/>
        <p:txBody>
          <a:bodyPr/>
          <a:lstStyle/>
          <a:p>
            <a:fld id="{BE9905E3-23C9-9848-89B6-E255D0E48656}" type="datetimeFigureOut">
              <a:rPr lang="en-US" smtClean="0"/>
              <a:t>6/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B3B4D9-8411-C548-A00F-5598DA004BB1}" type="slidenum">
              <a:rPr lang="en-US" smtClean="0"/>
              <a:t>‹#›</a:t>
            </a:fld>
            <a:endParaRPr lang="en-US"/>
          </a:p>
        </p:txBody>
      </p:sp>
    </p:spTree>
    <p:extLst>
      <p:ext uri="{BB962C8B-B14F-4D97-AF65-F5344CB8AC3E}">
        <p14:creationId xmlns:p14="http://schemas.microsoft.com/office/powerpoint/2010/main" val="38664004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BE9905E3-23C9-9848-89B6-E255D0E48656}" type="datetimeFigureOut">
              <a:rPr lang="en-US" smtClean="0"/>
              <a:t>6/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B3B4D9-8411-C548-A00F-5598DA004BB1}" type="slidenum">
              <a:rPr lang="en-US" smtClean="0"/>
              <a:t>‹#›</a:t>
            </a:fld>
            <a:endParaRPr lang="en-US"/>
          </a:p>
        </p:txBody>
      </p:sp>
    </p:spTree>
    <p:extLst>
      <p:ext uri="{BB962C8B-B14F-4D97-AF65-F5344CB8AC3E}">
        <p14:creationId xmlns:p14="http://schemas.microsoft.com/office/powerpoint/2010/main" val="32157479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GB"/>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BE9905E3-23C9-9848-89B6-E255D0E48656}" type="datetimeFigureOut">
              <a:rPr lang="en-US" smtClean="0"/>
              <a:t>6/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B3B4D9-8411-C548-A00F-5598DA004BB1}" type="slidenum">
              <a:rPr lang="en-US" smtClean="0"/>
              <a:t>‹#›</a:t>
            </a:fld>
            <a:endParaRPr lang="en-US"/>
          </a:p>
        </p:txBody>
      </p:sp>
    </p:spTree>
    <p:extLst>
      <p:ext uri="{BB962C8B-B14F-4D97-AF65-F5344CB8AC3E}">
        <p14:creationId xmlns:p14="http://schemas.microsoft.com/office/powerpoint/2010/main" val="29972237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p:cNvSpPr>
          <p:nvPr>
            <p:ph type="dt" sz="half" idx="10"/>
          </p:nvPr>
        </p:nvSpPr>
        <p:spPr/>
        <p:txBody>
          <a:bodyPr/>
          <a:lstStyle/>
          <a:p>
            <a:fld id="{BE9905E3-23C9-9848-89B6-E255D0E48656}" type="datetimeFigureOut">
              <a:rPr lang="en-US" smtClean="0"/>
              <a:t>6/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B3B4D9-8411-C548-A00F-5598DA004BB1}" type="slidenum">
              <a:rPr lang="en-US" smtClean="0"/>
              <a:t>‹#›</a:t>
            </a:fld>
            <a:endParaRPr lang="en-US"/>
          </a:p>
        </p:txBody>
      </p:sp>
    </p:spTree>
    <p:extLst>
      <p:ext uri="{BB962C8B-B14F-4D97-AF65-F5344CB8AC3E}">
        <p14:creationId xmlns:p14="http://schemas.microsoft.com/office/powerpoint/2010/main" val="19788879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p:cNvSpPr>
            <a:spLocks noGrp="1"/>
          </p:cNvSpPr>
          <p:nvPr>
            <p:ph type="dt" sz="half" idx="10"/>
          </p:nvPr>
        </p:nvSpPr>
        <p:spPr/>
        <p:txBody>
          <a:bodyPr/>
          <a:lstStyle/>
          <a:p>
            <a:fld id="{BE9905E3-23C9-9848-89B6-E255D0E48656}" type="datetimeFigureOut">
              <a:rPr lang="en-US" smtClean="0"/>
              <a:t>6/1/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6B3B4D9-8411-C548-A00F-5598DA004BB1}" type="slidenum">
              <a:rPr lang="en-US" smtClean="0"/>
              <a:t>‹#›</a:t>
            </a:fld>
            <a:endParaRPr lang="en-US"/>
          </a:p>
        </p:txBody>
      </p:sp>
    </p:spTree>
    <p:extLst>
      <p:ext uri="{BB962C8B-B14F-4D97-AF65-F5344CB8AC3E}">
        <p14:creationId xmlns:p14="http://schemas.microsoft.com/office/powerpoint/2010/main" val="28358262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fld id="{BE9905E3-23C9-9848-89B6-E255D0E48656}" type="datetimeFigureOut">
              <a:rPr lang="en-US" smtClean="0"/>
              <a:t>6/1/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6B3B4D9-8411-C548-A00F-5598DA004BB1}" type="slidenum">
              <a:rPr lang="en-US" smtClean="0"/>
              <a:t>‹#›</a:t>
            </a:fld>
            <a:endParaRPr lang="en-US"/>
          </a:p>
        </p:txBody>
      </p:sp>
    </p:spTree>
    <p:extLst>
      <p:ext uri="{BB962C8B-B14F-4D97-AF65-F5344CB8AC3E}">
        <p14:creationId xmlns:p14="http://schemas.microsoft.com/office/powerpoint/2010/main" val="29637794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E9905E3-23C9-9848-89B6-E255D0E48656}" type="datetimeFigureOut">
              <a:rPr lang="en-US" smtClean="0"/>
              <a:t>6/1/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6B3B4D9-8411-C548-A00F-5598DA004BB1}" type="slidenum">
              <a:rPr lang="en-US" smtClean="0"/>
              <a:t>‹#›</a:t>
            </a:fld>
            <a:endParaRPr lang="en-US"/>
          </a:p>
        </p:txBody>
      </p:sp>
    </p:spTree>
    <p:extLst>
      <p:ext uri="{BB962C8B-B14F-4D97-AF65-F5344CB8AC3E}">
        <p14:creationId xmlns:p14="http://schemas.microsoft.com/office/powerpoint/2010/main" val="4195772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GB"/>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BE9905E3-23C9-9848-89B6-E255D0E48656}" type="datetimeFigureOut">
              <a:rPr lang="en-US" smtClean="0"/>
              <a:t>6/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B3B4D9-8411-C548-A00F-5598DA004BB1}" type="slidenum">
              <a:rPr lang="en-US" smtClean="0"/>
              <a:t>‹#›</a:t>
            </a:fld>
            <a:endParaRPr lang="en-US"/>
          </a:p>
        </p:txBody>
      </p:sp>
    </p:spTree>
    <p:extLst>
      <p:ext uri="{BB962C8B-B14F-4D97-AF65-F5344CB8AC3E}">
        <p14:creationId xmlns:p14="http://schemas.microsoft.com/office/powerpoint/2010/main" val="30431301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GB"/>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BE9905E3-23C9-9848-89B6-E255D0E48656}" type="datetimeFigureOut">
              <a:rPr lang="en-US" smtClean="0"/>
              <a:t>6/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B3B4D9-8411-C548-A00F-5598DA004BB1}" type="slidenum">
              <a:rPr lang="en-US" smtClean="0"/>
              <a:t>‹#›</a:t>
            </a:fld>
            <a:endParaRPr lang="en-US"/>
          </a:p>
        </p:txBody>
      </p:sp>
    </p:spTree>
    <p:extLst>
      <p:ext uri="{BB962C8B-B14F-4D97-AF65-F5344CB8AC3E}">
        <p14:creationId xmlns:p14="http://schemas.microsoft.com/office/powerpoint/2010/main" val="18741774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BE9905E3-23C9-9848-89B6-E255D0E48656}" type="datetimeFigureOut">
              <a:rPr lang="en-US" smtClean="0"/>
              <a:t>6/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B3B4D9-8411-C548-A00F-5598DA004BB1}" type="slidenum">
              <a:rPr lang="en-US" smtClean="0"/>
              <a:t>‹#›</a:t>
            </a:fld>
            <a:endParaRPr lang="en-US"/>
          </a:p>
        </p:txBody>
      </p:sp>
    </p:spTree>
    <p:extLst>
      <p:ext uri="{BB962C8B-B14F-4D97-AF65-F5344CB8AC3E}">
        <p14:creationId xmlns:p14="http://schemas.microsoft.com/office/powerpoint/2010/main" val="24566257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299959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F169E07F-9A80-405D-B06A-876E4D356B83}" type="slidenum">
              <a:rPr lang="en-US" smtClean="0"/>
              <a:pPr/>
              <a:t>‹#›</a:t>
            </a:fld>
            <a:endParaRPr lang="en-US"/>
          </a:p>
        </p:txBody>
      </p:sp>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Tree>
    <p:extLst>
      <p:ext uri="{BB962C8B-B14F-4D97-AF65-F5344CB8AC3E}">
        <p14:creationId xmlns:p14="http://schemas.microsoft.com/office/powerpoint/2010/main" val="3353304683"/>
      </p:ext>
    </p:extLst>
  </p:cSld>
  <p:clrMapOvr>
    <a:masterClrMapping/>
  </p:clrMapOvr>
  <p:hf hdr="0"/>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BE9905E3-23C9-9848-89B6-E255D0E48656}" type="datetimeFigureOut">
              <a:rPr lang="en-US" smtClean="0"/>
              <a:t>6/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B3B4D9-8411-C548-A00F-5598DA004BB1}" type="slidenum">
              <a:rPr lang="en-US" smtClean="0"/>
              <a:t>‹#›</a:t>
            </a:fld>
            <a:endParaRPr lang="en-US"/>
          </a:p>
        </p:txBody>
      </p:sp>
    </p:spTree>
    <p:extLst>
      <p:ext uri="{BB962C8B-B14F-4D97-AF65-F5344CB8AC3E}">
        <p14:creationId xmlns:p14="http://schemas.microsoft.com/office/powerpoint/2010/main" val="7603476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2648577070"/>
      </p:ext>
    </p:extLst>
  </p:cSld>
  <p:clrMapOvr>
    <a:overrideClrMapping bg1="lt1" tx1="dk1" bg2="lt2" tx2="dk2" accent1="accent1" accent2="accent2" accent3="accent3" accent4="accent4" accent5="accent5" accent6="accent6" hlink="hlink" folHlink="folHlink"/>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lvl1pPr>
              <a:defRPr sz="3000"/>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Tree>
    <p:extLst>
      <p:ext uri="{BB962C8B-B14F-4D97-AF65-F5344CB8AC3E}">
        <p14:creationId xmlns:p14="http://schemas.microsoft.com/office/powerpoint/2010/main" val="1463434800"/>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8645790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bg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442049719"/>
      </p:ext>
    </p:extLst>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9262947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5" imgW="493" imgH="493" progId="TCLayout.ActiveDocument.1">
                  <p:embed/>
                </p:oleObj>
              </mc:Choice>
              <mc:Fallback>
                <p:oleObj name="think-cell Slide" r:id="rId5" imgW="493" imgH="49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1F160D6B-B452-452F-87E9-4ABE62E0932F}"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348352504"/>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3"/>
            </p:custDataLst>
            <p:extLst>
              <p:ext uri="{D42A27DB-BD31-4B8C-83A1-F6EECF244321}">
                <p14:modId xmlns:p14="http://schemas.microsoft.com/office/powerpoint/2010/main" val="33331695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5" imgW="360" imgH="360" progId="TCLayout.ActiveDocument.1">
                  <p:embed/>
                </p:oleObj>
              </mc:Choice>
              <mc:Fallback>
                <p:oleObj name="think-cell Slide" r:id="rId5" imgW="360" imgH="360" progId="TCLayout.ActiveDocument.1">
                  <p:embed/>
                  <p:pic>
                    <p:nvPicPr>
                      <p:cNvPr id="13" name="Objec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4121812"/>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DB4DF69D-9676-48A4-9665-621E7C899CF3}" type="slidenum">
              <a:rPr lang="en-US" smtClean="0"/>
              <a:pPr/>
              <a:t>‹#›</a:t>
            </a:fld>
            <a:endParaRPr lang="en-US"/>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4689763"/>
      </p:ext>
    </p:extLst>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369025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766EB20B-6E07-40CD-9610-8509067025E0}"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666463452"/>
      </p:ext>
    </p:extLst>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524122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8D0FA728-8260-4C2F-BD34-DE0A091495A5}" type="slidenum">
              <a:rPr lang="en-US" smtClean="0"/>
              <a:pPr/>
              <a:t>‹#›</a:t>
            </a:fld>
            <a:endParaRPr lang="en-US"/>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650842231"/>
      </p:ext>
    </p:extLst>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p:txBody>
          <a:body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02D2E3F0-9556-40D5-9E7E-C8276249C65E}" type="slidenum">
              <a:rPr lang="en-US" smtClean="0"/>
              <a:pPr/>
              <a:t>‹#›</a:t>
            </a:fld>
            <a:endParaRPr lang="en-US"/>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17253326"/>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250221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7" imgW="353" imgH="353" progId="TCLayout.ActiveDocument.1">
                  <p:embed/>
                </p:oleObj>
              </mc:Choice>
              <mc:Fallback>
                <p:oleObj name="think-cell Slide" r:id="rId7" imgW="353" imgH="353" progId="TCLayout.ActiveDocument.1">
                  <p:embed/>
                  <p:pic>
                    <p:nvPicPr>
                      <p:cNvPr id="4" name="Object 3"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bg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p:spPr>
        <p:txBody>
          <a:bodyPr/>
          <a:lstStyle>
            <a:lvl1pPr>
              <a:defRPr>
                <a:solidFill>
                  <a:schemeClr val="bg1"/>
                </a:solidFill>
              </a:defRPr>
            </a:lvl1pPr>
          </a:lstStyle>
          <a:p>
            <a:r>
              <a:rPr lang="en-US"/>
              <a:t>Lonza Microbiome JV - media briefing  |  3 April 2019</a:t>
            </a:r>
          </a:p>
        </p:txBody>
      </p:sp>
      <p:pic>
        <p:nvPicPr>
          <p:cNvPr id="11" name="Picture 10"/>
          <p:cNvPicPr>
            <a:picLocks noChangeAspect="1"/>
          </p:cNvPicPr>
          <p:nvPr userDrawn="1">
            <p:custDataLst>
              <p:tags r:id="rId4"/>
            </p:custDataLst>
          </p:nvPr>
        </p:nvPicPr>
        <p:blipFill rotWithShape="1">
          <a:blip r:embed="rId9" cstate="screen">
            <a:extLst>
              <a:ext uri="{28A0092B-C50C-407E-A947-70E740481C1C}">
                <a14:useLocalDpi xmlns:a14="http://schemas.microsoft.com/office/drawing/2010/main"/>
              </a:ext>
            </a:extLst>
          </a:blip>
          <a:srcRect t="52019" b="11065"/>
          <a:stretch/>
        </p:blipFill>
        <p:spPr>
          <a:xfrm>
            <a:off x="10566637" y="319827"/>
            <a:ext cx="1400400" cy="539074"/>
          </a:xfrm>
          <a:prstGeom prst="rect">
            <a:avLst/>
          </a:prstGeom>
        </p:spPr>
      </p:pic>
      <p:sp>
        <p:nvSpPr>
          <p:cNvPr id="7" name="Picture Placeholder 6">
            <a:extLst>
              <a:ext uri="{FF2B5EF4-FFF2-40B4-BE49-F238E27FC236}">
                <a16:creationId xmlns:a16="http://schemas.microsoft.com/office/drawing/2014/main" id="{EA29A920-9560-4468-9FE3-AF0D9FBE7230}"/>
              </a:ext>
            </a:extLst>
          </p:cNvPr>
          <p:cNvSpPr>
            <a:spLocks noGrp="1"/>
          </p:cNvSpPr>
          <p:nvPr>
            <p:ph type="pic" sz="quarter" idx="12" hasCustomPrompt="1"/>
          </p:nvPr>
        </p:nvSpPr>
        <p:spPr>
          <a:xfrm>
            <a:off x="776" y="-1"/>
            <a:ext cx="12191224" cy="5557336"/>
          </a:xfrm>
        </p:spPr>
        <p:txBody>
          <a:bodyPr/>
          <a:lstStyle>
            <a:lvl1pPr marL="0" indent="0">
              <a:buNone/>
              <a:defRPr/>
            </a:lvl1pPr>
          </a:lstStyle>
          <a:p>
            <a:r>
              <a:rPr lang="en-US"/>
              <a:t> </a:t>
            </a:r>
          </a:p>
        </p:txBody>
      </p:sp>
      <p:sp>
        <p:nvSpPr>
          <p:cNvPr id="9" name="Classification" hidden="1"/>
          <p:cNvSpPr txBox="1">
            <a:spLocks/>
          </p:cNvSpPr>
          <p:nvPr userDrawn="1">
            <p:custDataLst>
              <p:tags r:id="rId5"/>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133717754"/>
      </p:ext>
    </p:extLst>
  </p:cSld>
  <p:clrMapOvr>
    <a:masterClrMapping/>
  </p:clrMapOvr>
  <p:hf hdr="0"/>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671313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F169E07F-9A80-405D-B06A-876E4D356B83}" type="slidenum">
              <a:rPr lang="en-US" smtClean="0"/>
              <a:pPr/>
              <a:t>‹#›</a:t>
            </a:fld>
            <a:endParaRPr lang="en-US"/>
          </a:p>
        </p:txBody>
      </p:sp>
      <p:sp>
        <p:nvSpPr>
          <p:cNvPr id="7" name="Title 6"/>
          <p:cNvSpPr>
            <a:spLocks noGrp="1"/>
          </p:cNvSpPr>
          <p:nvPr>
            <p:ph type="title"/>
          </p:nvPr>
        </p:nvSpPr>
        <p:spPr>
          <a:xfrm>
            <a:off x="507206" y="2313946"/>
            <a:ext cx="9792000" cy="432000"/>
          </a:xfrm>
        </p:spPr>
        <p:txBody>
          <a:bodyPr/>
          <a:lstStyle>
            <a:lvl1pPr>
              <a:defRPr sz="4000"/>
            </a:lvl1pPr>
          </a:lstStyle>
          <a:p>
            <a:r>
              <a:rPr lang="en-US" dirty="0"/>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Tree>
    <p:extLst>
      <p:ext uri="{BB962C8B-B14F-4D97-AF65-F5344CB8AC3E}">
        <p14:creationId xmlns:p14="http://schemas.microsoft.com/office/powerpoint/2010/main" val="304112574"/>
      </p:ext>
    </p:extLst>
  </p:cSld>
  <p:clrMapOvr>
    <a:masterClrMapping/>
  </p:clrMapOvr>
  <p:hf hdr="0"/>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Lonza Microbiome JV - media briefing  |  3 April 2019</a:t>
            </a:r>
          </a:p>
        </p:txBody>
      </p:sp>
      <p:sp>
        <p:nvSpPr>
          <p:cNvPr id="4" name="Slide Number Placeholder 3"/>
          <p:cNvSpPr>
            <a:spLocks noGrp="1"/>
          </p:cNvSpPr>
          <p:nvPr>
            <p:ph type="sldNum" sz="quarter" idx="12"/>
          </p:nvPr>
        </p:nvSpPr>
        <p:spPr/>
        <p:txBody>
          <a:bodyPr/>
          <a:lstStyle/>
          <a:p>
            <a:fld id="{6D047E35-150C-4319-9FA5-9DC1536F505F}" type="slidenum">
              <a:rPr lang="en-US" smtClean="0"/>
              <a:pPr/>
              <a:t>‹#›</a:t>
            </a:fld>
            <a:endParaRPr lang="en-US"/>
          </a:p>
        </p:txBody>
      </p:sp>
    </p:spTree>
    <p:extLst>
      <p:ext uri="{BB962C8B-B14F-4D97-AF65-F5344CB8AC3E}">
        <p14:creationId xmlns:p14="http://schemas.microsoft.com/office/powerpoint/2010/main" val="1332596307"/>
      </p:ext>
    </p:extLst>
  </p:cSld>
  <p:clrMapOvr>
    <a:masterClrMapping/>
  </p:clrMapOvr>
  <p:hf hdr="0"/>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57265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t>Lonza Microbiome JV - media briefing  |  3 April 2019</a:t>
            </a:r>
          </a:p>
        </p:txBody>
      </p:sp>
      <p:sp>
        <p:nvSpPr>
          <p:cNvPr id="5" name="Slide Number Placeholder 4"/>
          <p:cNvSpPr>
            <a:spLocks noGrp="1"/>
          </p:cNvSpPr>
          <p:nvPr>
            <p:ph type="sldNum" sz="quarter" idx="12"/>
          </p:nvPr>
        </p:nvSpPr>
        <p:spPr/>
        <p:txBody>
          <a:bodyPr/>
          <a:lstStyle/>
          <a:p>
            <a:fld id="{C17884EE-EDE3-44F5-A102-3C97972BE00F}"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3407871"/>
      </p:ext>
    </p:extLst>
  </p:cSld>
  <p:clrMapOvr>
    <a:masterClrMapping/>
  </p:clrMapOvr>
  <p:hf hdr="0"/>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7350789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6" imgW="360" imgH="360" progId="TCLayout.ActiveDocument.1">
                  <p:embed/>
                </p:oleObj>
              </mc:Choice>
              <mc:Fallback>
                <p:oleObj name="think-cell Slide" r:id="rId6" imgW="360" imgH="36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 name="Footer Placeholder 2"/>
          <p:cNvSpPr>
            <a:spLocks noGrp="1"/>
          </p:cNvSpPr>
          <p:nvPr>
            <p:ph type="ftr" sz="quarter" idx="11"/>
          </p:nvPr>
        </p:nvSpPr>
        <p:spPr/>
        <p:txBody>
          <a:bodyPr/>
          <a:lstStyle/>
          <a:p>
            <a:r>
              <a:rPr lang="en-US"/>
              <a:t>Lonza Microbiome JV - media briefing  |  3 April 2019</a:t>
            </a:r>
          </a:p>
        </p:txBody>
      </p:sp>
      <p:sp>
        <p:nvSpPr>
          <p:cNvPr id="4" name="Slide Number Placeholder 3"/>
          <p:cNvSpPr>
            <a:spLocks noGrp="1"/>
          </p:cNvSpPr>
          <p:nvPr>
            <p:ph type="sldNum" sz="quarter" idx="12"/>
          </p:nvPr>
        </p:nvSpPr>
        <p:spPr/>
        <p:txBody>
          <a:bodyPr/>
          <a:lstStyle/>
          <a:p>
            <a:fld id="{082FAF88-7A9D-4D47-9197-6E5F7D59321B}" type="slidenum">
              <a:rPr lang="en-US" smtClean="0"/>
              <a:pPr/>
              <a:t>‹#›</a:t>
            </a:fld>
            <a:endParaRPr lang="en-US"/>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685455865"/>
      </p:ext>
    </p:extLst>
  </p:cSld>
  <p:clrMapOvr>
    <a:masterClrMapping/>
  </p:clrMapOvr>
  <p:hf hdr="0"/>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6/1/2022</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20706849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4283578499"/>
      </p:ext>
    </p:extLst>
  </p:cSld>
  <p:clrMapOvr>
    <a:overrideClrMapping bg1="lt1" tx1="dk1" bg2="lt2" tx2="dk2" accent1="accent1" accent2="accent2" accent3="accent3" accent4="accent4" accent5="accent5" accent6="accent6" hlink="hlink" folHlink="folHlink"/>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
        <p:nvSpPr>
          <p:cNvPr id="13" name="Slide Number Placeholder 1">
            <a:extLst>
              <a:ext uri="{FF2B5EF4-FFF2-40B4-BE49-F238E27FC236}">
                <a16:creationId xmlns:a16="http://schemas.microsoft.com/office/drawing/2014/main" id="{7E6315B5-6F39-784A-B0A5-46E7D3427B85}"/>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2972243658"/>
      </p:ext>
    </p:extLst>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marL="0" indent="0" algn="ctr">
              <a:buNone/>
              <a:defRPr sz="2500" b="1" i="1"/>
            </a:lvl1pPr>
            <a:lvl2pPr>
              <a:defRPr sz="2000" b="1" i="1"/>
            </a:lvl2pPr>
            <a:lvl3pPr>
              <a:defRPr sz="2000" b="1" i="1"/>
            </a:lvl3pPr>
            <a:lvl4pPr>
              <a:defRPr sz="2000" b="1" i="1"/>
            </a:lvl4pPr>
            <a:lvl5pPr>
              <a:defRPr sz="2000" b="1" i="1"/>
            </a:lvl5pPr>
          </a:lstStyle>
          <a:p>
            <a:pPr lvl="0"/>
            <a:endParaRPr lang="en-US" dirty="0"/>
          </a:p>
          <a:p>
            <a:pPr lvl="0"/>
            <a:endParaRPr lang="en-US" dirty="0"/>
          </a:p>
          <a:p>
            <a:pPr lvl="0"/>
            <a:endParaRPr lang="en-US" dirty="0"/>
          </a:p>
          <a:p>
            <a:pPr lvl="0"/>
            <a:r>
              <a:rPr lang="en-US" dirty="0"/>
              <a:t>Click to edit Master text styles</a:t>
            </a:r>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9" name="Slide Number Placeholder 1">
            <a:extLst>
              <a:ext uri="{FF2B5EF4-FFF2-40B4-BE49-F238E27FC236}">
                <a16:creationId xmlns:a16="http://schemas.microsoft.com/office/drawing/2014/main" id="{908D36E9-CC14-5647-8129-BDDE6AF6B455}"/>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858739352"/>
      </p:ext>
    </p:extLst>
  </p:cSld>
  <p:clrMapOvr>
    <a:masterClrMapping/>
  </p:clrMapOvr>
  <p:hf hdr="0"/>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7364978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5">
            <a:extLst>
              <a:ext uri="{FF2B5EF4-FFF2-40B4-BE49-F238E27FC236}">
                <a16:creationId xmlns:a16="http://schemas.microsoft.com/office/drawing/2014/main" id="{FCABCE7B-DECF-314E-A724-F9E872A5BF81}"/>
              </a:ext>
            </a:extLst>
          </p:cNvPr>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Tree>
    <p:extLst>
      <p:ext uri="{BB962C8B-B14F-4D97-AF65-F5344CB8AC3E}">
        <p14:creationId xmlns:p14="http://schemas.microsoft.com/office/powerpoint/2010/main" val="466637804"/>
      </p:ext>
    </p:extLst>
  </p:cSld>
  <p:clrMapOvr>
    <a:masterClrMapping/>
  </p:clrMapOvr>
  <p:hf hdr="0"/>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3"/>
            </p:custDataLst>
            <p:extLst>
              <p:ext uri="{D42A27DB-BD31-4B8C-83A1-F6EECF244321}">
                <p14:modId xmlns:p14="http://schemas.microsoft.com/office/powerpoint/2010/main" val="20118739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5" imgW="360" imgH="360" progId="TCLayout.ActiveDocument.1">
                  <p:embed/>
                </p:oleObj>
              </mc:Choice>
              <mc:Fallback>
                <p:oleObj name="think-cell Slide" r:id="rId5" imgW="360" imgH="360" progId="TCLayout.ActiveDocument.1">
                  <p:embed/>
                  <p:pic>
                    <p:nvPicPr>
                      <p:cNvPr id="13" name="Objec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743BAC9B-92DB-0943-953A-CDD8B94C950B}"/>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11" name="Picture 10">
            <a:extLst>
              <a:ext uri="{FF2B5EF4-FFF2-40B4-BE49-F238E27FC236}">
                <a16:creationId xmlns:a16="http://schemas.microsoft.com/office/drawing/2014/main" id="{DE400620-BF18-F449-8186-530021EB6486}"/>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1646656726"/>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41305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bg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01796133"/>
      </p:ext>
    </p:extLst>
  </p:cSld>
  <p:clrMapOvr>
    <a:masterClrMapping/>
  </p:clrMapOvr>
  <p:hf hdr="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40036696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7" imgW="353" imgH="353" progId="TCLayout.ActiveDocument.1">
                  <p:embed/>
                </p:oleObj>
              </mc:Choice>
              <mc:Fallback>
                <p:oleObj name="think-cell Slide" r:id="rId7" imgW="353" imgH="353" progId="TCLayout.ActiveDocument.1">
                  <p:embed/>
                  <p:pic>
                    <p:nvPicPr>
                      <p:cNvPr id="4" name="Object 3"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bg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a:prstGeom prst="rect">
            <a:avLst/>
          </a:prstGeom>
        </p:spPr>
        <p:txBody>
          <a:bodyPr/>
          <a:lstStyle>
            <a:lvl1pPr>
              <a:defRPr>
                <a:solidFill>
                  <a:schemeClr val="bg1"/>
                </a:solidFill>
              </a:defRPr>
            </a:lvl1pPr>
          </a:lstStyle>
          <a:p>
            <a:r>
              <a:rPr lang="en-US"/>
              <a:t>Lonza Microbiome JV - media briefing  |  3 April 2019</a:t>
            </a:r>
          </a:p>
        </p:txBody>
      </p:sp>
      <p:pic>
        <p:nvPicPr>
          <p:cNvPr id="11" name="Picture 10"/>
          <p:cNvPicPr>
            <a:picLocks noChangeAspect="1"/>
          </p:cNvPicPr>
          <p:nvPr userDrawn="1">
            <p:custDataLst>
              <p:tags r:id="rId4"/>
            </p:custDataLst>
          </p:nvPr>
        </p:nvPicPr>
        <p:blipFill rotWithShape="1">
          <a:blip r:embed="rId9" cstate="screen">
            <a:extLst>
              <a:ext uri="{28A0092B-C50C-407E-A947-70E740481C1C}">
                <a14:useLocalDpi xmlns:a14="http://schemas.microsoft.com/office/drawing/2010/main"/>
              </a:ext>
            </a:extLst>
          </a:blip>
          <a:srcRect t="52019" b="11065"/>
          <a:stretch/>
        </p:blipFill>
        <p:spPr>
          <a:xfrm>
            <a:off x="10566637" y="319827"/>
            <a:ext cx="1400400" cy="539074"/>
          </a:xfrm>
          <a:prstGeom prst="rect">
            <a:avLst/>
          </a:prstGeom>
        </p:spPr>
      </p:pic>
      <p:sp>
        <p:nvSpPr>
          <p:cNvPr id="7" name="Picture Placeholder 6">
            <a:extLst>
              <a:ext uri="{FF2B5EF4-FFF2-40B4-BE49-F238E27FC236}">
                <a16:creationId xmlns:a16="http://schemas.microsoft.com/office/drawing/2014/main" id="{EA29A920-9560-4468-9FE3-AF0D9FBE7230}"/>
              </a:ext>
            </a:extLst>
          </p:cNvPr>
          <p:cNvSpPr>
            <a:spLocks noGrp="1"/>
          </p:cNvSpPr>
          <p:nvPr>
            <p:ph type="pic" sz="quarter" idx="12" hasCustomPrompt="1"/>
          </p:nvPr>
        </p:nvSpPr>
        <p:spPr>
          <a:xfrm>
            <a:off x="776" y="-1"/>
            <a:ext cx="12191224" cy="5557336"/>
          </a:xfrm>
        </p:spPr>
        <p:txBody>
          <a:bodyPr/>
          <a:lstStyle>
            <a:lvl1pPr marL="0" indent="0">
              <a:buNone/>
              <a:defRPr/>
            </a:lvl1pPr>
          </a:lstStyle>
          <a:p>
            <a:r>
              <a:rPr lang="en-US"/>
              <a:t> </a:t>
            </a:r>
          </a:p>
        </p:txBody>
      </p:sp>
      <p:sp>
        <p:nvSpPr>
          <p:cNvPr id="9" name="Classification" hidden="1"/>
          <p:cNvSpPr txBox="1">
            <a:spLocks/>
          </p:cNvSpPr>
          <p:nvPr userDrawn="1">
            <p:custDataLst>
              <p:tags r:id="rId5"/>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3737202558"/>
      </p:ext>
    </p:extLst>
  </p:cSld>
  <p:clrMapOvr>
    <a:masterClrMapping/>
  </p:clrMapOvr>
  <p:hf hdr="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7814650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a:prstGeom prst="rect">
            <a:avLst/>
          </a:prstGeom>
        </p:spPr>
        <p:txBody>
          <a:bodyPr/>
          <a:lstStyle>
            <a:lvl1pPr>
              <a:defRPr>
                <a:solidFill>
                  <a:schemeClr val="bg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738163331"/>
      </p:ext>
    </p:extLst>
  </p:cSld>
  <p:clrMapOvr>
    <a:masterClrMapping/>
  </p:clrMapOvr>
  <p:hf hdr="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matchingName="Title Slide - Internal" preserve="1" userDrawn="1">
  <p:cSld name="Title Slide - Internal">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a:prstGeom prst="rect">
            <a:avLst/>
          </a:prstGeom>
        </p:spPr>
        <p:txBody>
          <a:bodyPr/>
          <a:lstStyle>
            <a:lvl1pPr>
              <a:defRPr>
                <a:solidFill>
                  <a:schemeClr val="accent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a:extLst>
              <a:ext uri="{FF2B5EF4-FFF2-40B4-BE49-F238E27FC236}">
                <a16:creationId xmlns:a16="http://schemas.microsoft.com/office/drawing/2014/main" id="{092397B8-F9BC-43C0-88B4-BA4387BCC22D}"/>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2" name="Picture Placeholder 6">
            <a:extLst>
              <a:ext uri="{FF2B5EF4-FFF2-40B4-BE49-F238E27FC236}">
                <a16:creationId xmlns:a16="http://schemas.microsoft.com/office/drawing/2014/main" id="{33E50F41-ABD8-415B-91AA-C043E8A69846}"/>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1"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793917776"/>
      </p:ext>
    </p:extLst>
  </p:cSld>
  <p:clrMapOvr>
    <a:overrideClrMapping bg1="lt1" tx1="dk1" bg2="lt2" tx2="dk2" accent1="accent1" accent2="accent2" accent3="accent3" accent4="accent4" accent5="accent5" accent6="accent6" hlink="hlink" folHlink="folHlink"/>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a:prstGeom prst="rect">
            <a:avLst/>
          </a:prstGeom>
        </p:spPr>
        <p:txBody>
          <a:bodyPr/>
          <a:lstStyle>
            <a:lvl1pPr>
              <a:defRPr>
                <a:solidFill>
                  <a:schemeClr val="bg1"/>
                </a:solidFill>
              </a:defRPr>
            </a:lvl1pPr>
          </a:lstStyle>
          <a:p>
            <a:r>
              <a:rPr lang="en-US"/>
              <a:t>Lonza Microbiome JV - media briefing  |  3 April 2019</a:t>
            </a:r>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199847145"/>
      </p:ext>
    </p:extLst>
  </p:cSld>
  <p:clrMapOvr>
    <a:overrideClrMapping bg1="lt1" tx1="dk1" bg2="lt2" tx2="dk2" accent1="accent1" accent2="accent2" accent3="accent3" accent4="accent4" accent5="accent5" accent6="accent6" hlink="hlink" folHlink="folHlink"/>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6413" y="1739788"/>
            <a:ext cx="11174412"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144372"/>
      </p:ext>
    </p:extLst>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415888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5" imgW="493" imgH="493" progId="TCLayout.ActiveDocument.1">
                  <p:embed/>
                </p:oleObj>
              </mc:Choice>
              <mc:Fallback>
                <p:oleObj name="think-cell Slide" r:id="rId5" imgW="493" imgH="49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1F160D6B-B452-452F-87E9-4ABE62E0932F}"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124918563"/>
      </p:ext>
    </p:extLst>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3"/>
            </p:custDataLst>
            <p:extLst>
              <p:ext uri="{D42A27DB-BD31-4B8C-83A1-F6EECF244321}">
                <p14:modId xmlns:p14="http://schemas.microsoft.com/office/powerpoint/2010/main" val="2846517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8" name="think-cell Slide" r:id="rId5" imgW="360" imgH="360" progId="TCLayout.ActiveDocument.1">
                  <p:embed/>
                </p:oleObj>
              </mc:Choice>
              <mc:Fallback>
                <p:oleObj name="think-cell Slide" r:id="rId5" imgW="360" imgH="360" progId="TCLayout.ActiveDocument.1">
                  <p:embed/>
                  <p:pic>
                    <p:nvPicPr>
                      <p:cNvPr id="13" name="Objec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9357627"/>
      </p:ext>
    </p:extLst>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DB4DF69D-9676-48A4-9665-621E7C899CF3}" type="slidenum">
              <a:rPr lang="en-US" smtClean="0"/>
              <a:pPr/>
              <a:t>‹#›</a:t>
            </a:fld>
            <a:endParaRPr lang="en-US"/>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0577173"/>
      </p:ext>
    </p:extLst>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3649224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766EB20B-6E07-40CD-9610-8509067025E0}"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2981444650"/>
      </p:ext>
    </p:extLst>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84246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8D0FA728-8260-4C2F-BD34-DE0A091495A5}" type="slidenum">
              <a:rPr lang="en-US" smtClean="0"/>
              <a:pPr/>
              <a:t>‹#›</a:t>
            </a:fld>
            <a:endParaRPr lang="en-US"/>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530850379"/>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 Internal" preserve="1" userDrawn="1">
  <p:cSld name="Title Slide - Internal">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accent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a:extLst>
              <a:ext uri="{FF2B5EF4-FFF2-40B4-BE49-F238E27FC236}">
                <a16:creationId xmlns:a16="http://schemas.microsoft.com/office/drawing/2014/main" id="{092397B8-F9BC-43C0-88B4-BA4387BCC22D}"/>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2" name="Picture Placeholder 6">
            <a:extLst>
              <a:ext uri="{FF2B5EF4-FFF2-40B4-BE49-F238E27FC236}">
                <a16:creationId xmlns:a16="http://schemas.microsoft.com/office/drawing/2014/main" id="{33E50F41-ABD8-415B-91AA-C043E8A69846}"/>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1"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6466264"/>
      </p:ext>
    </p:extLst>
  </p:cSld>
  <p:clrMapOvr>
    <a:overrideClrMapping bg1="lt1" tx1="dk1" bg2="lt2" tx2="dk2" accent1="accent1" accent2="accent2" accent3="accent3" accent4="accent4" accent5="accent5" accent6="accent6" hlink="hlink" folHlink="folHlink"/>
  </p:clrMapOvr>
  <p:hf hdr="0"/>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02D2E3F0-9556-40D5-9E7E-C8276249C65E}" type="slidenum">
              <a:rPr lang="en-US" smtClean="0"/>
              <a:pPr/>
              <a:t>‹#›</a:t>
            </a:fld>
            <a:endParaRPr lang="en-US"/>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0106536"/>
      </p:ext>
    </p:extLst>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6361887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0"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F169E07F-9A80-405D-B06A-876E4D356B83}"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3908846"/>
      </p:ext>
    </p:extLst>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4" name="Slide Number Placeholder 3"/>
          <p:cNvSpPr>
            <a:spLocks noGrp="1"/>
          </p:cNvSpPr>
          <p:nvPr>
            <p:ph type="sldNum" sz="quarter" idx="12"/>
          </p:nvPr>
        </p:nvSpPr>
        <p:spPr>
          <a:xfrm>
            <a:off x="10034587" y="6623100"/>
            <a:ext cx="1648619" cy="216000"/>
          </a:xfrm>
          <a:prstGeom prst="rect">
            <a:avLst/>
          </a:prstGeom>
        </p:spPr>
        <p:txBody>
          <a:bodyPr/>
          <a:lstStyle/>
          <a:p>
            <a:fld id="{6D047E35-150C-4319-9FA5-9DC1536F505F}" type="slidenum">
              <a:rPr lang="en-US" smtClean="0"/>
              <a:pPr/>
              <a:t>‹#›</a:t>
            </a:fld>
            <a:endParaRPr lang="en-US"/>
          </a:p>
        </p:txBody>
      </p:sp>
    </p:spTree>
    <p:extLst>
      <p:ext uri="{BB962C8B-B14F-4D97-AF65-F5344CB8AC3E}">
        <p14:creationId xmlns:p14="http://schemas.microsoft.com/office/powerpoint/2010/main" val="4100801643"/>
      </p:ext>
    </p:extLst>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4769154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4"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C17884EE-EDE3-44F5-A102-3C97972BE00F}"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9205611"/>
      </p:ext>
    </p:extLst>
  </p:cSld>
  <p:clrMapOvr>
    <a:masterClrMapping/>
  </p:clrMapOvr>
  <p:hf hdr="0"/>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602762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38" name="think-cell Slide" r:id="rId6" imgW="360" imgH="360" progId="TCLayout.ActiveDocument.1">
                  <p:embed/>
                </p:oleObj>
              </mc:Choice>
              <mc:Fallback>
                <p:oleObj name="think-cell Slide" r:id="rId6" imgW="360" imgH="36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 name="Footer Placeholder 2"/>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4" name="Slide Number Placeholder 3"/>
          <p:cNvSpPr>
            <a:spLocks noGrp="1"/>
          </p:cNvSpPr>
          <p:nvPr>
            <p:ph type="sldNum" sz="quarter" idx="12"/>
          </p:nvPr>
        </p:nvSpPr>
        <p:spPr>
          <a:xfrm>
            <a:off x="10034587" y="6623100"/>
            <a:ext cx="1648619" cy="216000"/>
          </a:xfrm>
          <a:prstGeom prst="rect">
            <a:avLst/>
          </a:prstGeom>
        </p:spPr>
        <p:txBody>
          <a:bodyPr/>
          <a:lstStyle/>
          <a:p>
            <a:fld id="{082FAF88-7A9D-4D47-9197-6E5F7D59321B}" type="slidenum">
              <a:rPr lang="en-US" smtClean="0"/>
              <a:pPr/>
              <a:t>‹#›</a:t>
            </a:fld>
            <a:endParaRPr lang="en-US"/>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3867990808"/>
      </p:ext>
    </p:extLst>
  </p:cSld>
  <p:clrMapOvr>
    <a:masterClrMapping/>
  </p:clrMapOvr>
  <p:hf hdr="0"/>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p:txBody>
          <a:bodyPr/>
          <a:lstStyle/>
          <a:p>
            <a:r>
              <a:rPr lang="en-US"/>
              <a:t>Click to edit Master title style</a:t>
            </a:r>
            <a:endParaRPr lang="en-CH"/>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fld id="{DE55411E-BC08-44A7-8F62-F22372D5DCBC}" type="datetimeFigureOut">
              <a:rPr lang="en-CH" smtClean="0"/>
              <a:t>06/01/2022</a:t>
            </a:fld>
            <a:endParaRPr lang="en-CH"/>
          </a:p>
        </p:txBody>
      </p:sp>
      <p:sp>
        <p:nvSpPr>
          <p:cNvPr id="5" name="Footer Placeholder 4">
            <a:extLst>
              <a:ext uri="{FF2B5EF4-FFF2-40B4-BE49-F238E27FC236}">
                <a16:creationId xmlns:a16="http://schemas.microsoft.com/office/drawing/2014/main" id="{A20E105F-EDE1-4C00-A310-6FC5DAB62D9F}"/>
              </a:ext>
            </a:extLst>
          </p:cNvPr>
          <p:cNvSpPr>
            <a:spLocks noGrp="1"/>
          </p:cNvSpPr>
          <p:nvPr>
            <p:ph type="ftr" sz="quarter" idx="11"/>
          </p:nvPr>
        </p:nvSpPr>
        <p:spPr>
          <a:xfrm>
            <a:off x="507205" y="6623100"/>
            <a:ext cx="9018587" cy="216000"/>
          </a:xfrm>
          <a:prstGeom prst="rect">
            <a:avLst/>
          </a:prstGeom>
        </p:spPr>
        <p:txBody>
          <a:bodyPr/>
          <a:lstStyle/>
          <a:p>
            <a:endParaRPr lang="en-CH"/>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10034587" y="6623100"/>
            <a:ext cx="1648619" cy="216000"/>
          </a:xfrm>
          <a:prstGeom prst="rect">
            <a:avLst/>
          </a:prstGeom>
        </p:spPr>
        <p:txBody>
          <a:bodyPr/>
          <a:lstStyle/>
          <a:p>
            <a:fld id="{39C7B30D-D25F-4DF3-AE47-BDF3EC9675EC}" type="slidenum">
              <a:rPr lang="en-CH" smtClean="0"/>
              <a:t>‹#›</a:t>
            </a:fld>
            <a:endParaRPr lang="en-CH"/>
          </a:p>
        </p:txBody>
      </p:sp>
      <p:pic>
        <p:nvPicPr>
          <p:cNvPr id="7" name="Picture 6">
            <a:extLst>
              <a:ext uri="{FF2B5EF4-FFF2-40B4-BE49-F238E27FC236}">
                <a16:creationId xmlns:a16="http://schemas.microsoft.com/office/drawing/2014/main" id="{CF95AEC8-AEE7-4D23-AE00-B67DCD8F3909}"/>
              </a:ext>
            </a:extLst>
          </p:cNvPr>
          <p:cNvPicPr>
            <a:picLocks noChangeAspect="1"/>
          </p:cNvPicPr>
          <p:nvPr userDrawn="1"/>
        </p:nvPicPr>
        <p:blipFill>
          <a:blip r:embed="rId2"/>
          <a:stretch>
            <a:fillRect/>
          </a:stretch>
        </p:blipFill>
        <p:spPr>
          <a:xfrm>
            <a:off x="0" y="5705776"/>
            <a:ext cx="841321" cy="1121761"/>
          </a:xfrm>
          <a:prstGeom prst="rect">
            <a:avLst/>
          </a:prstGeom>
        </p:spPr>
      </p:pic>
      <p:pic>
        <p:nvPicPr>
          <p:cNvPr id="8" name="Picture 7">
            <a:extLst>
              <a:ext uri="{FF2B5EF4-FFF2-40B4-BE49-F238E27FC236}">
                <a16:creationId xmlns:a16="http://schemas.microsoft.com/office/drawing/2014/main" id="{DB0EA716-85A3-434E-A3EB-584F97FD183A}"/>
              </a:ext>
            </a:extLst>
          </p:cNvPr>
          <p:cNvPicPr>
            <a:picLocks noChangeAspect="1"/>
          </p:cNvPicPr>
          <p:nvPr userDrawn="1"/>
        </p:nvPicPr>
        <p:blipFill>
          <a:blip r:embed="rId3"/>
          <a:stretch>
            <a:fillRect/>
          </a:stretch>
        </p:blipFill>
        <p:spPr>
          <a:xfrm>
            <a:off x="10215262" y="6223981"/>
            <a:ext cx="1871634" cy="603556"/>
          </a:xfrm>
          <a:prstGeom prst="rect">
            <a:avLst/>
          </a:prstGeom>
        </p:spPr>
      </p:pic>
    </p:spTree>
    <p:extLst>
      <p:ext uri="{BB962C8B-B14F-4D97-AF65-F5344CB8AC3E}">
        <p14:creationId xmlns:p14="http://schemas.microsoft.com/office/powerpoint/2010/main" val="120724761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6/1/2022</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3270108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6"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925451916"/>
      </p:ext>
    </p:extLst>
  </p:cSld>
  <p:clrMapOvr>
    <a:overrideClrMapping bg1="lt1" tx1="dk1" bg2="lt2" tx2="dk2" accent1="accent1" accent2="accent2" accent3="accent3" accent4="accent4" accent5="accent5" accent6="accent6" hlink="hlink" folHlink="folHlink"/>
  </p:clrMapOvr>
  <p:hf hdr="0"/>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92906" y="506412"/>
            <a:ext cx="9792000" cy="432000"/>
          </a:xfrm>
          <a:prstGeom prst="rect">
            <a:avLst/>
          </a:prstGeom>
        </p:spPr>
        <p:txBody>
          <a:bodyPr/>
          <a:lstStyle>
            <a:lvl1pPr>
              <a:defRPr sz="3000"/>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3" name="TextBox 2">
            <a:extLst>
              <a:ext uri="{FF2B5EF4-FFF2-40B4-BE49-F238E27FC236}">
                <a16:creationId xmlns:a16="http://schemas.microsoft.com/office/drawing/2014/main" id="{934194D4-65C1-CE44-83D6-BA6AA8F0F826}"/>
              </a:ext>
            </a:extLst>
          </p:cNvPr>
          <p:cNvSpPr txBox="1"/>
          <p:nvPr userDrawn="1"/>
        </p:nvSpPr>
        <p:spPr>
          <a:xfrm>
            <a:off x="1341120" y="667512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4" name="TextBox 3">
            <a:extLst>
              <a:ext uri="{FF2B5EF4-FFF2-40B4-BE49-F238E27FC236}">
                <a16:creationId xmlns:a16="http://schemas.microsoft.com/office/drawing/2014/main" id="{8404965B-C745-5F49-B6A0-65A62D0FFA87}"/>
              </a:ext>
            </a:extLst>
          </p:cNvPr>
          <p:cNvSpPr txBox="1"/>
          <p:nvPr userDrawn="1"/>
        </p:nvSpPr>
        <p:spPr>
          <a:xfrm>
            <a:off x="1117600" y="669544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11" name="Slide Number Placeholder 5">
            <a:extLst>
              <a:ext uri="{FF2B5EF4-FFF2-40B4-BE49-F238E27FC236}">
                <a16:creationId xmlns:a16="http://schemas.microsoft.com/office/drawing/2014/main" id="{11DEC190-D436-954B-8DE7-916486DA5857}"/>
              </a:ext>
            </a:extLst>
          </p:cNvPr>
          <p:cNvSpPr txBox="1">
            <a:spLocks/>
          </p:cNvSpPr>
          <p:nvPr userDrawn="1"/>
        </p:nvSpPr>
        <p:spPr>
          <a:xfrm>
            <a:off x="10032988" y="66294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2031520758"/>
      </p:ext>
    </p:extLst>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0"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4">
            <a:extLst>
              <a:ext uri="{FF2B5EF4-FFF2-40B4-BE49-F238E27FC236}">
                <a16:creationId xmlns:a16="http://schemas.microsoft.com/office/drawing/2014/main" id="{A3C58B59-6E1C-A64E-9E61-7A5FC6933A66}"/>
              </a:ext>
            </a:extLst>
          </p:cNvPr>
          <p:cNvSpPr txBox="1">
            <a:spLocks/>
          </p:cNvSpPr>
          <p:nvPr userDrawn="1"/>
        </p:nvSpPr>
        <p:spPr>
          <a:xfrm>
            <a:off x="10180630" y="66420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69E07F-9A80-405D-B06A-876E4D356B83}" type="slidenum">
              <a:rPr lang="en-US" smtClean="0"/>
              <a:pPr/>
              <a:t>‹#›</a:t>
            </a:fld>
            <a:endParaRPr lang="en-US"/>
          </a:p>
        </p:txBody>
      </p:sp>
    </p:spTree>
    <p:extLst>
      <p:ext uri="{BB962C8B-B14F-4D97-AF65-F5344CB8AC3E}">
        <p14:creationId xmlns:p14="http://schemas.microsoft.com/office/powerpoint/2010/main" val="1351190271"/>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p:spPr>
        <p:txBody>
          <a:bodyPr/>
          <a:lstStyle>
            <a:lvl1pPr>
              <a:defRPr>
                <a:solidFill>
                  <a:schemeClr val="bg1"/>
                </a:solidFill>
              </a:defRPr>
            </a:lvl1pPr>
          </a:lstStyle>
          <a:p>
            <a:r>
              <a:rPr lang="en-US"/>
              <a:t>Lonza Microbiome JV - media briefing  |  3 April 2019</a:t>
            </a:r>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381421593"/>
      </p:ext>
    </p:extLst>
  </p:cSld>
  <p:clrMapOvr>
    <a:overrideClrMapping bg1="lt1" tx1="dk1" bg2="lt2" tx2="dk2" accent1="accent1" accent2="accent2" accent3="accent3" accent4="accent4" accent5="accent5" accent6="accent6" hlink="hlink" folHlink="folHlink"/>
  </p:clrMapOvr>
  <p:hf hdr="0"/>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389639" y="506412"/>
            <a:ext cx="9792000" cy="432000"/>
          </a:xfrm>
          <a:prstGeom prst="rect">
            <a:avLst/>
          </a:prstGeom>
        </p:spPr>
        <p:txBody>
          <a:bodyPr/>
          <a:lstStyle>
            <a:lvl1pPr>
              <a:defRPr sz="3000"/>
            </a:lvl1pPr>
          </a:lstStyle>
          <a:p>
            <a:r>
              <a:rPr lang="en-US" dirty="0"/>
              <a:t>Click to edit Master title style</a:t>
            </a:r>
            <a:endParaRPr lang="en-CH"/>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hasCustomPrompt="1"/>
          </p:nvPr>
        </p:nvSpPr>
        <p:spPr>
          <a:xfrm>
            <a:off x="507205" y="1739788"/>
            <a:ext cx="11175995" cy="4500000"/>
          </a:xfrm>
          <a:prstGeom prst="rect">
            <a:avLst/>
          </a:prstGeom>
        </p:spPr>
        <p:txBody>
          <a:bodyPr/>
          <a:lstStyle>
            <a:lvl1pPr>
              <a:defRPr sz="2200"/>
            </a:lvl1pPr>
            <a:lvl2pPr>
              <a:defRPr sz="1800"/>
            </a:lvl2pPr>
            <a:lvl3pPr>
              <a:defRPr sz="1800"/>
            </a:lvl3pPr>
            <a:lvl4pPr>
              <a:defRPr sz="1800"/>
            </a:lvl4pPr>
            <a:lvl5pPr>
              <a:defRPr sz="1800"/>
            </a:lvl5pPr>
            <a:lvl6pPr marL="2286000" indent="0">
              <a:buNone/>
              <a:defRPr/>
            </a:lvl6pPr>
          </a:lstStyle>
          <a:p>
            <a:pPr lvl="0"/>
            <a:r>
              <a:rPr lang="en-US" dirty="0"/>
              <a:t>Edit Master text styles</a:t>
            </a:r>
          </a:p>
          <a:p>
            <a:pPr lvl="3"/>
            <a:r>
              <a:rPr lang="en-US" dirty="0"/>
              <a:t>Second level</a:t>
            </a:r>
          </a:p>
          <a:p>
            <a:pPr lvl="4"/>
            <a:r>
              <a:rPr lang="en-US" dirty="0"/>
              <a:t>Third level</a:t>
            </a:r>
          </a:p>
          <a:p>
            <a:pPr lvl="4"/>
            <a:r>
              <a:rPr lang="en-US" dirty="0"/>
              <a:t>Fourth level</a:t>
            </a:r>
          </a:p>
          <a:p>
            <a:pPr lvl="4"/>
            <a:r>
              <a:rPr lang="en-US" dirty="0"/>
              <a:t>Fifth level</a:t>
            </a:r>
            <a:endParaRPr lang="en-CH"/>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endParaRPr lang="en-CH"/>
          </a:p>
        </p:txBody>
      </p:sp>
      <p:sp>
        <p:nvSpPr>
          <p:cNvPr id="9" name="Text Placeholder 13">
            <a:extLst>
              <a:ext uri="{FF2B5EF4-FFF2-40B4-BE49-F238E27FC236}">
                <a16:creationId xmlns:a16="http://schemas.microsoft.com/office/drawing/2014/main" id="{56151446-A05C-B645-9A1B-AD00D3A7462E}"/>
              </a:ext>
            </a:extLst>
          </p:cNvPr>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TextBox 9">
            <a:extLst>
              <a:ext uri="{FF2B5EF4-FFF2-40B4-BE49-F238E27FC236}">
                <a16:creationId xmlns:a16="http://schemas.microsoft.com/office/drawing/2014/main" id="{744F6E85-7E65-7D4C-99FE-00FC62FD521C}"/>
              </a:ext>
            </a:extLst>
          </p:cNvPr>
          <p:cNvSpPr txBox="1"/>
          <p:nvPr userDrawn="1"/>
        </p:nvSpPr>
        <p:spPr>
          <a:xfrm>
            <a:off x="352697" y="117566"/>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8" name="Slide Number Placeholder 5">
            <a:extLst>
              <a:ext uri="{FF2B5EF4-FFF2-40B4-BE49-F238E27FC236}">
                <a16:creationId xmlns:a16="http://schemas.microsoft.com/office/drawing/2014/main" id="{56370BDB-78D6-004F-8E0B-6DBC28E8C286}"/>
              </a:ext>
            </a:extLst>
          </p:cNvPr>
          <p:cNvSpPr txBox="1">
            <a:spLocks/>
          </p:cNvSpPr>
          <p:nvPr userDrawn="1"/>
        </p:nvSpPr>
        <p:spPr>
          <a:xfrm>
            <a:off x="10032988" y="66294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10673864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3"/>
            </p:custDataLst>
            <p:extLst>
              <p:ext uri="{D42A27DB-BD31-4B8C-83A1-F6EECF244321}">
                <p14:modId xmlns:p14="http://schemas.microsoft.com/office/powerpoint/2010/main" val="18286742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4" name="think-cell Slide" r:id="rId5" imgW="360" imgH="360" progId="TCLayout.ActiveDocument.1">
                  <p:embed/>
                </p:oleObj>
              </mc:Choice>
              <mc:Fallback>
                <p:oleObj name="think-cell Slide" r:id="rId5" imgW="360" imgH="360" progId="TCLayout.ActiveDocument.1">
                  <p:embed/>
                  <p:pic>
                    <p:nvPicPr>
                      <p:cNvPr id="13" name="Objec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5995852" y="1739788"/>
            <a:ext cx="5687348"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quarter" idx="16"/>
          </p:nvPr>
        </p:nvSpPr>
        <p:spPr>
          <a:xfrm>
            <a:off x="507206" y="1739788"/>
            <a:ext cx="5488646"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5" y="1739788"/>
            <a:ext cx="11175995" cy="4500000"/>
          </a:xfrm>
          <a:prstGeom prst="rect">
            <a:avLst/>
          </a:prstGeom>
        </p:spPr>
        <p:txBody>
          <a:bodyPr vert="horz" lIns="0" tIns="46800" rIns="0" bIns="45720" rtlCol="0" anchor="b">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r>
              <a:rPr lang="en-US"/>
              <a:t>Click to edit Master title style</a:t>
            </a:r>
          </a:p>
        </p:txBody>
      </p:sp>
      <p:sp>
        <p:nvSpPr>
          <p:cNvPr id="10" name="Text Placeholder 13">
            <a:extLst>
              <a:ext uri="{FF2B5EF4-FFF2-40B4-BE49-F238E27FC236}">
                <a16:creationId xmlns:a16="http://schemas.microsoft.com/office/drawing/2014/main" id="{07098449-41B0-BB47-9B66-892F78FE4ECF}"/>
              </a:ext>
            </a:extLst>
          </p:cNvPr>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Tree>
    <p:extLst>
      <p:ext uri="{BB962C8B-B14F-4D97-AF65-F5344CB8AC3E}">
        <p14:creationId xmlns:p14="http://schemas.microsoft.com/office/powerpoint/2010/main" val="841742132"/>
      </p:ext>
    </p:extLst>
  </p:cSld>
  <p:clrMapOvr>
    <a:masterClrMapping/>
  </p:clrMapOvr>
  <p:hf hdr="0"/>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matchingName="Section Header - Internal"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8"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888876502"/>
      </p:ext>
    </p:extLst>
  </p:cSld>
  <p:clrMapOvr>
    <a:overrideClrMapping bg1="lt1" tx1="dk1" bg2="lt2" tx2="dk2" accent1="accent1" accent2="accent2" accent3="accent3" accent4="accent4" accent5="accent5" accent6="accent6" hlink="hlink" folHlink="folHlink"/>
  </p:clrMapOvr>
  <p:hf hdr="0"/>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6/1/2022</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133668413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E45C9-7F9E-DD42-BBE5-63352B39793C}"/>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DF92D28A-F81D-6340-BFEB-A608D2C142A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609ACA56-20F2-8842-B390-C2D1131D3F83}"/>
              </a:ext>
            </a:extLst>
          </p:cNvPr>
          <p:cNvSpPr>
            <a:spLocks noGrp="1"/>
          </p:cNvSpPr>
          <p:nvPr>
            <p:ph type="dt" sz="half" idx="10"/>
          </p:nvPr>
        </p:nvSpPr>
        <p:spPr/>
        <p:txBody>
          <a:bodyPr/>
          <a:lstStyle/>
          <a:p>
            <a:fld id="{0940B1DE-56CF-6843-82D8-A569B7056537}" type="datetimeFigureOut">
              <a:rPr lang="en-GB" smtClean="0"/>
              <a:t>01/06/2022</a:t>
            </a:fld>
            <a:endParaRPr lang="en-GB"/>
          </a:p>
        </p:txBody>
      </p:sp>
      <p:sp>
        <p:nvSpPr>
          <p:cNvPr id="5" name="Footer Placeholder 4">
            <a:extLst>
              <a:ext uri="{FF2B5EF4-FFF2-40B4-BE49-F238E27FC236}">
                <a16:creationId xmlns:a16="http://schemas.microsoft.com/office/drawing/2014/main" id="{C78B4BCE-5934-6945-8C6D-28CEC5EFFB9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9FD56E-5AE7-C648-B37A-4930DEA9D5E8}"/>
              </a:ext>
            </a:extLst>
          </p:cNvPr>
          <p:cNvSpPr>
            <a:spLocks noGrp="1"/>
          </p:cNvSpPr>
          <p:nvPr>
            <p:ph type="sldNum" sz="quarter" idx="12"/>
          </p:nvPr>
        </p:nvSpPr>
        <p:spPr/>
        <p:txBody>
          <a:bodyPr/>
          <a:lstStyle/>
          <a:p>
            <a:fld id="{9A22C557-D4D3-E845-8BBE-ABD3304E2424}" type="slidenum">
              <a:rPr lang="en-GB" smtClean="0"/>
              <a:t>‹#›</a:t>
            </a:fld>
            <a:endParaRPr lang="en-GB"/>
          </a:p>
        </p:txBody>
      </p:sp>
    </p:spTree>
    <p:extLst>
      <p:ext uri="{BB962C8B-B14F-4D97-AF65-F5344CB8AC3E}">
        <p14:creationId xmlns:p14="http://schemas.microsoft.com/office/powerpoint/2010/main" val="187311824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503FF1-C49D-DC47-B343-C692D72F5F44}"/>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51888AC3-1CDC-544A-B0E7-740C551EF78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1608B410-4359-0442-AFA1-CA0564660478}"/>
              </a:ext>
            </a:extLst>
          </p:cNvPr>
          <p:cNvSpPr>
            <a:spLocks noGrp="1"/>
          </p:cNvSpPr>
          <p:nvPr>
            <p:ph type="dt" sz="half" idx="10"/>
          </p:nvPr>
        </p:nvSpPr>
        <p:spPr/>
        <p:txBody>
          <a:bodyPr/>
          <a:lstStyle/>
          <a:p>
            <a:fld id="{0940B1DE-56CF-6843-82D8-A569B7056537}" type="datetimeFigureOut">
              <a:rPr lang="en-GB" smtClean="0"/>
              <a:t>01/06/2022</a:t>
            </a:fld>
            <a:endParaRPr lang="en-GB"/>
          </a:p>
        </p:txBody>
      </p:sp>
      <p:sp>
        <p:nvSpPr>
          <p:cNvPr id="5" name="Footer Placeholder 4">
            <a:extLst>
              <a:ext uri="{FF2B5EF4-FFF2-40B4-BE49-F238E27FC236}">
                <a16:creationId xmlns:a16="http://schemas.microsoft.com/office/drawing/2014/main" id="{77EFE450-E3D3-AB44-844B-3CFC2DE3185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9BE8EF0-F0F6-1C47-A289-5177368B3539}"/>
              </a:ext>
            </a:extLst>
          </p:cNvPr>
          <p:cNvSpPr>
            <a:spLocks noGrp="1"/>
          </p:cNvSpPr>
          <p:nvPr>
            <p:ph type="sldNum" sz="quarter" idx="12"/>
          </p:nvPr>
        </p:nvSpPr>
        <p:spPr/>
        <p:txBody>
          <a:bodyPr/>
          <a:lstStyle/>
          <a:p>
            <a:fld id="{9A22C557-D4D3-E845-8BBE-ABD3304E2424}" type="slidenum">
              <a:rPr lang="en-GB" smtClean="0"/>
              <a:t>‹#›</a:t>
            </a:fld>
            <a:endParaRPr lang="en-GB"/>
          </a:p>
        </p:txBody>
      </p:sp>
    </p:spTree>
    <p:extLst>
      <p:ext uri="{BB962C8B-B14F-4D97-AF65-F5344CB8AC3E}">
        <p14:creationId xmlns:p14="http://schemas.microsoft.com/office/powerpoint/2010/main" val="114258125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83B9C-003D-914E-83CE-82D00D99B35A}"/>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612FB923-FD2A-8842-A812-E5AF68C2884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EC4DD99A-AA1C-0D4E-B0C6-A0A151E97375}"/>
              </a:ext>
            </a:extLst>
          </p:cNvPr>
          <p:cNvSpPr>
            <a:spLocks noGrp="1"/>
          </p:cNvSpPr>
          <p:nvPr>
            <p:ph type="dt" sz="half" idx="10"/>
          </p:nvPr>
        </p:nvSpPr>
        <p:spPr/>
        <p:txBody>
          <a:bodyPr/>
          <a:lstStyle/>
          <a:p>
            <a:fld id="{0940B1DE-56CF-6843-82D8-A569B7056537}" type="datetimeFigureOut">
              <a:rPr lang="en-GB" smtClean="0"/>
              <a:t>01/06/2022</a:t>
            </a:fld>
            <a:endParaRPr lang="en-GB"/>
          </a:p>
        </p:txBody>
      </p:sp>
      <p:sp>
        <p:nvSpPr>
          <p:cNvPr id="5" name="Footer Placeholder 4">
            <a:extLst>
              <a:ext uri="{FF2B5EF4-FFF2-40B4-BE49-F238E27FC236}">
                <a16:creationId xmlns:a16="http://schemas.microsoft.com/office/drawing/2014/main" id="{BFBCBFF1-9B29-E54F-BFDC-3A564A7C81F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FCEA27D-1BC9-5742-9E8C-4A6FF7F26A72}"/>
              </a:ext>
            </a:extLst>
          </p:cNvPr>
          <p:cNvSpPr>
            <a:spLocks noGrp="1"/>
          </p:cNvSpPr>
          <p:nvPr>
            <p:ph type="sldNum" sz="quarter" idx="12"/>
          </p:nvPr>
        </p:nvSpPr>
        <p:spPr/>
        <p:txBody>
          <a:bodyPr/>
          <a:lstStyle/>
          <a:p>
            <a:fld id="{9A22C557-D4D3-E845-8BBE-ABD3304E2424}" type="slidenum">
              <a:rPr lang="en-GB" smtClean="0"/>
              <a:t>‹#›</a:t>
            </a:fld>
            <a:endParaRPr lang="en-GB"/>
          </a:p>
        </p:txBody>
      </p:sp>
    </p:spTree>
    <p:extLst>
      <p:ext uri="{BB962C8B-B14F-4D97-AF65-F5344CB8AC3E}">
        <p14:creationId xmlns:p14="http://schemas.microsoft.com/office/powerpoint/2010/main" val="170160810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EBC8B-C9CC-6E4A-9757-2F9836707E24}"/>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6DF60D4D-CB9C-F047-AA7A-96D81B3A6884}"/>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08A79945-DEE8-F74D-BDBB-E547A7DFC391}"/>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78F06949-D9F6-494E-A950-59FB12D9E12D}"/>
              </a:ext>
            </a:extLst>
          </p:cNvPr>
          <p:cNvSpPr>
            <a:spLocks noGrp="1"/>
          </p:cNvSpPr>
          <p:nvPr>
            <p:ph type="dt" sz="half" idx="10"/>
          </p:nvPr>
        </p:nvSpPr>
        <p:spPr/>
        <p:txBody>
          <a:bodyPr/>
          <a:lstStyle/>
          <a:p>
            <a:fld id="{0940B1DE-56CF-6843-82D8-A569B7056537}" type="datetimeFigureOut">
              <a:rPr lang="en-GB" smtClean="0"/>
              <a:t>01/06/2022</a:t>
            </a:fld>
            <a:endParaRPr lang="en-GB"/>
          </a:p>
        </p:txBody>
      </p:sp>
      <p:sp>
        <p:nvSpPr>
          <p:cNvPr id="6" name="Footer Placeholder 5">
            <a:extLst>
              <a:ext uri="{FF2B5EF4-FFF2-40B4-BE49-F238E27FC236}">
                <a16:creationId xmlns:a16="http://schemas.microsoft.com/office/drawing/2014/main" id="{318DAFB0-7C33-924F-BF83-3C51F93EE43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CC8C43-68DF-0142-8EAD-7C83F6CCAC84}"/>
              </a:ext>
            </a:extLst>
          </p:cNvPr>
          <p:cNvSpPr>
            <a:spLocks noGrp="1"/>
          </p:cNvSpPr>
          <p:nvPr>
            <p:ph type="sldNum" sz="quarter" idx="12"/>
          </p:nvPr>
        </p:nvSpPr>
        <p:spPr/>
        <p:txBody>
          <a:bodyPr/>
          <a:lstStyle/>
          <a:p>
            <a:fld id="{9A22C557-D4D3-E845-8BBE-ABD3304E2424}" type="slidenum">
              <a:rPr lang="en-GB" smtClean="0"/>
              <a:t>‹#›</a:t>
            </a:fld>
            <a:endParaRPr lang="en-GB"/>
          </a:p>
        </p:txBody>
      </p:sp>
    </p:spTree>
    <p:extLst>
      <p:ext uri="{BB962C8B-B14F-4D97-AF65-F5344CB8AC3E}">
        <p14:creationId xmlns:p14="http://schemas.microsoft.com/office/powerpoint/2010/main" val="33439440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8ACF5-5B11-A149-B007-A1040AB9BE63}"/>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31FA02CB-EC02-2245-9135-B99FC44F6C9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7822749D-3CEF-B749-84A5-343BB46AB18D}"/>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531F5E2D-4B7D-1545-9008-D61A24BC79F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B234E0A6-BDA5-0842-A280-FEBF233B59EC}"/>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182359CA-AD2C-BD4D-B51C-F50AFC37632A}"/>
              </a:ext>
            </a:extLst>
          </p:cNvPr>
          <p:cNvSpPr>
            <a:spLocks noGrp="1"/>
          </p:cNvSpPr>
          <p:nvPr>
            <p:ph type="dt" sz="half" idx="10"/>
          </p:nvPr>
        </p:nvSpPr>
        <p:spPr/>
        <p:txBody>
          <a:bodyPr/>
          <a:lstStyle/>
          <a:p>
            <a:fld id="{0940B1DE-56CF-6843-82D8-A569B7056537}" type="datetimeFigureOut">
              <a:rPr lang="en-GB" smtClean="0"/>
              <a:t>01/06/2022</a:t>
            </a:fld>
            <a:endParaRPr lang="en-GB"/>
          </a:p>
        </p:txBody>
      </p:sp>
      <p:sp>
        <p:nvSpPr>
          <p:cNvPr id="8" name="Footer Placeholder 7">
            <a:extLst>
              <a:ext uri="{FF2B5EF4-FFF2-40B4-BE49-F238E27FC236}">
                <a16:creationId xmlns:a16="http://schemas.microsoft.com/office/drawing/2014/main" id="{53520791-5AB0-F04A-8251-A799DD757164}"/>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C5275393-1397-0E45-9EA0-61F084387AF4}"/>
              </a:ext>
            </a:extLst>
          </p:cNvPr>
          <p:cNvSpPr>
            <a:spLocks noGrp="1"/>
          </p:cNvSpPr>
          <p:nvPr>
            <p:ph type="sldNum" sz="quarter" idx="12"/>
          </p:nvPr>
        </p:nvSpPr>
        <p:spPr/>
        <p:txBody>
          <a:bodyPr/>
          <a:lstStyle/>
          <a:p>
            <a:fld id="{9A22C557-D4D3-E845-8BBE-ABD3304E2424}" type="slidenum">
              <a:rPr lang="en-GB" smtClean="0"/>
              <a:t>‹#›</a:t>
            </a:fld>
            <a:endParaRPr lang="en-GB"/>
          </a:p>
        </p:txBody>
      </p:sp>
    </p:spTree>
    <p:extLst>
      <p:ext uri="{BB962C8B-B14F-4D97-AF65-F5344CB8AC3E}">
        <p14:creationId xmlns:p14="http://schemas.microsoft.com/office/powerpoint/2010/main" val="30445239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04470-E7CD-D04F-B5E1-4BC51303E8B0}"/>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51473044-04F3-4943-8E26-CC4164C6BC95}"/>
              </a:ext>
            </a:extLst>
          </p:cNvPr>
          <p:cNvSpPr>
            <a:spLocks noGrp="1"/>
          </p:cNvSpPr>
          <p:nvPr>
            <p:ph type="dt" sz="half" idx="10"/>
          </p:nvPr>
        </p:nvSpPr>
        <p:spPr/>
        <p:txBody>
          <a:bodyPr/>
          <a:lstStyle/>
          <a:p>
            <a:fld id="{0940B1DE-56CF-6843-82D8-A569B7056537}" type="datetimeFigureOut">
              <a:rPr lang="en-GB" smtClean="0"/>
              <a:t>01/06/2022</a:t>
            </a:fld>
            <a:endParaRPr lang="en-GB"/>
          </a:p>
        </p:txBody>
      </p:sp>
      <p:sp>
        <p:nvSpPr>
          <p:cNvPr id="4" name="Footer Placeholder 3">
            <a:extLst>
              <a:ext uri="{FF2B5EF4-FFF2-40B4-BE49-F238E27FC236}">
                <a16:creationId xmlns:a16="http://schemas.microsoft.com/office/drawing/2014/main" id="{EC33ED12-657E-274B-8BD3-4ED85E28866B}"/>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CD1015A-B033-294B-9A6F-24D1F97E2996}"/>
              </a:ext>
            </a:extLst>
          </p:cNvPr>
          <p:cNvSpPr>
            <a:spLocks noGrp="1"/>
          </p:cNvSpPr>
          <p:nvPr>
            <p:ph type="sldNum" sz="quarter" idx="12"/>
          </p:nvPr>
        </p:nvSpPr>
        <p:spPr/>
        <p:txBody>
          <a:bodyPr/>
          <a:lstStyle/>
          <a:p>
            <a:fld id="{9A22C557-D4D3-E845-8BBE-ABD3304E2424}" type="slidenum">
              <a:rPr lang="en-GB" smtClean="0"/>
              <a:t>‹#›</a:t>
            </a:fld>
            <a:endParaRPr lang="en-GB"/>
          </a:p>
        </p:txBody>
      </p:sp>
    </p:spTree>
    <p:extLst>
      <p:ext uri="{BB962C8B-B14F-4D97-AF65-F5344CB8AC3E}">
        <p14:creationId xmlns:p14="http://schemas.microsoft.com/office/powerpoint/2010/main" val="35531831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t>Lonza Microbiome JV - media briefing  |  3 April 2019</a:t>
            </a:r>
          </a:p>
        </p:txBody>
      </p:sp>
      <p:sp>
        <p:nvSpPr>
          <p:cNvPr id="6" name="Slide Number Placeholder 5"/>
          <p:cNvSpPr>
            <a:spLocks noGrp="1"/>
          </p:cNvSpPr>
          <p:nvPr>
            <p:ph type="sldNum" sz="quarter" idx="12"/>
          </p:nvPr>
        </p:nvSpPr>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6413" y="1739788"/>
            <a:ext cx="11174412"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0920215"/>
      </p:ext>
    </p:extLst>
  </p:cSld>
  <p:clrMapOvr>
    <a:masterClrMapping/>
  </p:clrMapOvr>
  <p:hf hdr="0"/>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8DA6852-33BA-794B-BA57-310E1EAF9A7A}"/>
              </a:ext>
            </a:extLst>
          </p:cNvPr>
          <p:cNvSpPr>
            <a:spLocks noGrp="1"/>
          </p:cNvSpPr>
          <p:nvPr>
            <p:ph type="dt" sz="half" idx="10"/>
          </p:nvPr>
        </p:nvSpPr>
        <p:spPr/>
        <p:txBody>
          <a:bodyPr/>
          <a:lstStyle/>
          <a:p>
            <a:fld id="{0940B1DE-56CF-6843-82D8-A569B7056537}" type="datetimeFigureOut">
              <a:rPr lang="en-GB" smtClean="0"/>
              <a:t>01/06/2022</a:t>
            </a:fld>
            <a:endParaRPr lang="en-GB"/>
          </a:p>
        </p:txBody>
      </p:sp>
      <p:sp>
        <p:nvSpPr>
          <p:cNvPr id="3" name="Footer Placeholder 2">
            <a:extLst>
              <a:ext uri="{FF2B5EF4-FFF2-40B4-BE49-F238E27FC236}">
                <a16:creationId xmlns:a16="http://schemas.microsoft.com/office/drawing/2014/main" id="{7EE45821-67C3-CC4F-A906-63A96DAEB115}"/>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C6A96E8-FD70-4446-8394-7FA1E6D91B98}"/>
              </a:ext>
            </a:extLst>
          </p:cNvPr>
          <p:cNvSpPr>
            <a:spLocks noGrp="1"/>
          </p:cNvSpPr>
          <p:nvPr>
            <p:ph type="sldNum" sz="quarter" idx="12"/>
          </p:nvPr>
        </p:nvSpPr>
        <p:spPr/>
        <p:txBody>
          <a:bodyPr/>
          <a:lstStyle/>
          <a:p>
            <a:fld id="{9A22C557-D4D3-E845-8BBE-ABD3304E2424}" type="slidenum">
              <a:rPr lang="en-GB" smtClean="0"/>
              <a:t>‹#›</a:t>
            </a:fld>
            <a:endParaRPr lang="en-GB"/>
          </a:p>
        </p:txBody>
      </p:sp>
    </p:spTree>
    <p:extLst>
      <p:ext uri="{BB962C8B-B14F-4D97-AF65-F5344CB8AC3E}">
        <p14:creationId xmlns:p14="http://schemas.microsoft.com/office/powerpoint/2010/main" val="39564196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5A8A8-9521-D54D-9273-F7A923CE33E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C34722C8-3411-1F47-9E51-88F9C36C489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5726EB23-3199-AB4E-8291-04E02B9244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AE3C8C0B-38A3-734A-B76E-DC10E7304CB4}"/>
              </a:ext>
            </a:extLst>
          </p:cNvPr>
          <p:cNvSpPr>
            <a:spLocks noGrp="1"/>
          </p:cNvSpPr>
          <p:nvPr>
            <p:ph type="dt" sz="half" idx="10"/>
          </p:nvPr>
        </p:nvSpPr>
        <p:spPr/>
        <p:txBody>
          <a:bodyPr/>
          <a:lstStyle/>
          <a:p>
            <a:fld id="{0940B1DE-56CF-6843-82D8-A569B7056537}" type="datetimeFigureOut">
              <a:rPr lang="en-GB" smtClean="0"/>
              <a:t>01/06/2022</a:t>
            </a:fld>
            <a:endParaRPr lang="en-GB"/>
          </a:p>
        </p:txBody>
      </p:sp>
      <p:sp>
        <p:nvSpPr>
          <p:cNvPr id="6" name="Footer Placeholder 5">
            <a:extLst>
              <a:ext uri="{FF2B5EF4-FFF2-40B4-BE49-F238E27FC236}">
                <a16:creationId xmlns:a16="http://schemas.microsoft.com/office/drawing/2014/main" id="{15DA6F1F-1132-FD4A-B29C-D749776CCC8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FF3A0AA-CD70-A64E-A874-148C90E9C597}"/>
              </a:ext>
            </a:extLst>
          </p:cNvPr>
          <p:cNvSpPr>
            <a:spLocks noGrp="1"/>
          </p:cNvSpPr>
          <p:nvPr>
            <p:ph type="sldNum" sz="quarter" idx="12"/>
          </p:nvPr>
        </p:nvSpPr>
        <p:spPr/>
        <p:txBody>
          <a:bodyPr/>
          <a:lstStyle/>
          <a:p>
            <a:fld id="{9A22C557-D4D3-E845-8BBE-ABD3304E2424}" type="slidenum">
              <a:rPr lang="en-GB" smtClean="0"/>
              <a:t>‹#›</a:t>
            </a:fld>
            <a:endParaRPr lang="en-GB"/>
          </a:p>
        </p:txBody>
      </p:sp>
    </p:spTree>
    <p:extLst>
      <p:ext uri="{BB962C8B-B14F-4D97-AF65-F5344CB8AC3E}">
        <p14:creationId xmlns:p14="http://schemas.microsoft.com/office/powerpoint/2010/main" val="93148396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C871EE-2F62-0544-9568-1B58BA9CD89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9B5FD7E1-BBAE-5344-ADDA-0C1C42E9BEC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910BC694-F086-0D4B-8991-5138004874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37DA28F5-2A3C-614C-92B8-D97B47900F1A}"/>
              </a:ext>
            </a:extLst>
          </p:cNvPr>
          <p:cNvSpPr>
            <a:spLocks noGrp="1"/>
          </p:cNvSpPr>
          <p:nvPr>
            <p:ph type="dt" sz="half" idx="10"/>
          </p:nvPr>
        </p:nvSpPr>
        <p:spPr/>
        <p:txBody>
          <a:bodyPr/>
          <a:lstStyle/>
          <a:p>
            <a:fld id="{0940B1DE-56CF-6843-82D8-A569B7056537}" type="datetimeFigureOut">
              <a:rPr lang="en-GB" smtClean="0"/>
              <a:t>01/06/2022</a:t>
            </a:fld>
            <a:endParaRPr lang="en-GB"/>
          </a:p>
        </p:txBody>
      </p:sp>
      <p:sp>
        <p:nvSpPr>
          <p:cNvPr id="6" name="Footer Placeholder 5">
            <a:extLst>
              <a:ext uri="{FF2B5EF4-FFF2-40B4-BE49-F238E27FC236}">
                <a16:creationId xmlns:a16="http://schemas.microsoft.com/office/drawing/2014/main" id="{FF8D34D4-E2E4-E744-BE97-8BB0511CDD9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DB1D683-FBC7-F641-9230-D619E43D3E99}"/>
              </a:ext>
            </a:extLst>
          </p:cNvPr>
          <p:cNvSpPr>
            <a:spLocks noGrp="1"/>
          </p:cNvSpPr>
          <p:nvPr>
            <p:ph type="sldNum" sz="quarter" idx="12"/>
          </p:nvPr>
        </p:nvSpPr>
        <p:spPr/>
        <p:txBody>
          <a:bodyPr/>
          <a:lstStyle/>
          <a:p>
            <a:fld id="{9A22C557-D4D3-E845-8BBE-ABD3304E2424}" type="slidenum">
              <a:rPr lang="en-GB" smtClean="0"/>
              <a:t>‹#›</a:t>
            </a:fld>
            <a:endParaRPr lang="en-GB"/>
          </a:p>
        </p:txBody>
      </p:sp>
    </p:spTree>
    <p:extLst>
      <p:ext uri="{BB962C8B-B14F-4D97-AF65-F5344CB8AC3E}">
        <p14:creationId xmlns:p14="http://schemas.microsoft.com/office/powerpoint/2010/main" val="70179960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5C038-99A4-D041-AD3B-0AE1B515318B}"/>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33549BE9-75E6-7046-878F-209E43202954}"/>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8616205C-D70F-EC45-8C98-27801183A739}"/>
              </a:ext>
            </a:extLst>
          </p:cNvPr>
          <p:cNvSpPr>
            <a:spLocks noGrp="1"/>
          </p:cNvSpPr>
          <p:nvPr>
            <p:ph type="dt" sz="half" idx="10"/>
          </p:nvPr>
        </p:nvSpPr>
        <p:spPr/>
        <p:txBody>
          <a:bodyPr/>
          <a:lstStyle/>
          <a:p>
            <a:fld id="{0940B1DE-56CF-6843-82D8-A569B7056537}" type="datetimeFigureOut">
              <a:rPr lang="en-GB" smtClean="0"/>
              <a:t>01/06/2022</a:t>
            </a:fld>
            <a:endParaRPr lang="en-GB"/>
          </a:p>
        </p:txBody>
      </p:sp>
      <p:sp>
        <p:nvSpPr>
          <p:cNvPr id="5" name="Footer Placeholder 4">
            <a:extLst>
              <a:ext uri="{FF2B5EF4-FFF2-40B4-BE49-F238E27FC236}">
                <a16:creationId xmlns:a16="http://schemas.microsoft.com/office/drawing/2014/main" id="{A91C3672-163D-F94C-83B4-2C86DC7C5E9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879B208-A960-864C-BDA7-ED8DB4EEDF1C}"/>
              </a:ext>
            </a:extLst>
          </p:cNvPr>
          <p:cNvSpPr>
            <a:spLocks noGrp="1"/>
          </p:cNvSpPr>
          <p:nvPr>
            <p:ph type="sldNum" sz="quarter" idx="12"/>
          </p:nvPr>
        </p:nvSpPr>
        <p:spPr/>
        <p:txBody>
          <a:bodyPr/>
          <a:lstStyle/>
          <a:p>
            <a:fld id="{9A22C557-D4D3-E845-8BBE-ABD3304E2424}" type="slidenum">
              <a:rPr lang="en-GB" smtClean="0"/>
              <a:t>‹#›</a:t>
            </a:fld>
            <a:endParaRPr lang="en-GB"/>
          </a:p>
        </p:txBody>
      </p:sp>
    </p:spTree>
    <p:extLst>
      <p:ext uri="{BB962C8B-B14F-4D97-AF65-F5344CB8AC3E}">
        <p14:creationId xmlns:p14="http://schemas.microsoft.com/office/powerpoint/2010/main" val="34666919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4E7FA3C-B226-1842-95A4-42B0A05C2FBB}"/>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A2EF50CD-8559-A846-A0F1-E7D2975F5592}"/>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81BC6E2B-AF64-6D41-86E8-BEA54A86A946}"/>
              </a:ext>
            </a:extLst>
          </p:cNvPr>
          <p:cNvSpPr>
            <a:spLocks noGrp="1"/>
          </p:cNvSpPr>
          <p:nvPr>
            <p:ph type="dt" sz="half" idx="10"/>
          </p:nvPr>
        </p:nvSpPr>
        <p:spPr/>
        <p:txBody>
          <a:bodyPr/>
          <a:lstStyle/>
          <a:p>
            <a:fld id="{0940B1DE-56CF-6843-82D8-A569B7056537}" type="datetimeFigureOut">
              <a:rPr lang="en-GB" smtClean="0"/>
              <a:t>01/06/2022</a:t>
            </a:fld>
            <a:endParaRPr lang="en-GB"/>
          </a:p>
        </p:txBody>
      </p:sp>
      <p:sp>
        <p:nvSpPr>
          <p:cNvPr id="5" name="Footer Placeholder 4">
            <a:extLst>
              <a:ext uri="{FF2B5EF4-FFF2-40B4-BE49-F238E27FC236}">
                <a16:creationId xmlns:a16="http://schemas.microsoft.com/office/drawing/2014/main" id="{836151D9-5618-954F-9A93-354788B91D5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BCFE9C1-69DF-9B4D-9408-A4E14E7373BD}"/>
              </a:ext>
            </a:extLst>
          </p:cNvPr>
          <p:cNvSpPr>
            <a:spLocks noGrp="1"/>
          </p:cNvSpPr>
          <p:nvPr>
            <p:ph type="sldNum" sz="quarter" idx="12"/>
          </p:nvPr>
        </p:nvSpPr>
        <p:spPr/>
        <p:txBody>
          <a:bodyPr/>
          <a:lstStyle/>
          <a:p>
            <a:fld id="{9A22C557-D4D3-E845-8BBE-ABD3304E2424}" type="slidenum">
              <a:rPr lang="en-GB" smtClean="0"/>
              <a:t>‹#›</a:t>
            </a:fld>
            <a:endParaRPr lang="en-GB"/>
          </a:p>
        </p:txBody>
      </p:sp>
    </p:spTree>
    <p:extLst>
      <p:ext uri="{BB962C8B-B14F-4D97-AF65-F5344CB8AC3E}">
        <p14:creationId xmlns:p14="http://schemas.microsoft.com/office/powerpoint/2010/main" val="16774343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ittel og tekst">
    <p:spTree>
      <p:nvGrpSpPr>
        <p:cNvPr id="1" name=""/>
        <p:cNvGrpSpPr/>
        <p:nvPr/>
      </p:nvGrpSpPr>
      <p:grpSpPr>
        <a:xfrm>
          <a:off x="0" y="0"/>
          <a:ext cx="0" cy="0"/>
          <a:chOff x="0" y="0"/>
          <a:chExt cx="0" cy="0"/>
        </a:xfrm>
      </p:grpSpPr>
      <p:sp>
        <p:nvSpPr>
          <p:cNvPr id="7" name="Rectangle 7"/>
          <p:cNvSpPr>
            <a:spLocks noGrp="1"/>
          </p:cNvSpPr>
          <p:nvPr>
            <p:ph type="body"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Title 8"/>
          <p:cNvSpPr>
            <a:spLocks noGrp="1"/>
          </p:cNvSpPr>
          <p:nvPr>
            <p:ph type="title"/>
          </p:nvPr>
        </p:nvSpPr>
        <p:spPr>
          <a:xfrm>
            <a:off x="609600" y="359465"/>
            <a:ext cx="10972800" cy="1143000"/>
          </a:xfrm>
          <a:prstGeom prst="rect">
            <a:avLst/>
          </a:prstGeom>
        </p:spPr>
        <p:txBody>
          <a:bodyPr anchor="b">
            <a:normAutofit/>
          </a:bodyPr>
          <a:lstStyle/>
          <a:p>
            <a:r>
              <a:rPr lang="nb-NO"/>
              <a:t>Klikk for å redigere tittelstil</a:t>
            </a:r>
          </a:p>
        </p:txBody>
      </p:sp>
      <p:sp>
        <p:nvSpPr>
          <p:cNvPr id="4" name="Date Placeholder 7"/>
          <p:cNvSpPr>
            <a:spLocks noGrp="1"/>
          </p:cNvSpPr>
          <p:nvPr>
            <p:ph type="dt" sz="half" idx="10"/>
          </p:nvPr>
        </p:nvSpPr>
        <p:spPr/>
        <p:txBody>
          <a:bodyPr/>
          <a:lstStyle>
            <a:lvl1pPr>
              <a:defRPr smtClean="0"/>
            </a:lvl1pPr>
          </a:lstStyle>
          <a:p>
            <a:pPr>
              <a:defRPr/>
            </a:pPr>
            <a:endParaRPr lang="nn-NO"/>
          </a:p>
        </p:txBody>
      </p:sp>
      <p:sp>
        <p:nvSpPr>
          <p:cNvPr id="5" name="Slide Number Placeholder 9"/>
          <p:cNvSpPr>
            <a:spLocks noGrp="1"/>
          </p:cNvSpPr>
          <p:nvPr>
            <p:ph type="sldNum" sz="quarter" idx="11"/>
          </p:nvPr>
        </p:nvSpPr>
        <p:spPr/>
        <p:txBody>
          <a:bodyPr/>
          <a:lstStyle>
            <a:lvl1pPr>
              <a:defRPr smtClean="0"/>
            </a:lvl1pPr>
          </a:lstStyle>
          <a:p>
            <a:pPr>
              <a:defRPr/>
            </a:pPr>
            <a:fld id="{2B00230B-0A56-4D89-A5C0-2A8806B84CC5}" type="slidenum">
              <a:rPr lang="nb-NO"/>
              <a:pPr>
                <a:defRPr/>
              </a:pPr>
              <a:t>‹#›</a:t>
            </a:fld>
            <a:endParaRPr lang="nb-NO"/>
          </a:p>
        </p:txBody>
      </p:sp>
      <p:sp>
        <p:nvSpPr>
          <p:cNvPr id="6" name="Footer Placeholder 10"/>
          <p:cNvSpPr>
            <a:spLocks noGrp="1"/>
          </p:cNvSpPr>
          <p:nvPr>
            <p:ph type="ftr" sz="quarter" idx="12"/>
          </p:nvPr>
        </p:nvSpPr>
        <p:spPr/>
        <p:txBody>
          <a:bodyPr/>
          <a:lstStyle>
            <a:lvl1pPr>
              <a:defRPr smtClean="0"/>
            </a:lvl1pPr>
          </a:lstStyle>
          <a:p>
            <a:pPr>
              <a:defRPr/>
            </a:pPr>
            <a:r>
              <a:rPr lang="nn-NO"/>
              <a:t>The Norwegian STIC project</a:t>
            </a:r>
          </a:p>
        </p:txBody>
      </p:sp>
    </p:spTree>
    <p:extLst>
      <p:ext uri="{BB962C8B-B14F-4D97-AF65-F5344CB8AC3E}">
        <p14:creationId xmlns:p14="http://schemas.microsoft.com/office/powerpoint/2010/main" val="7797886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044839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5" imgW="493" imgH="493" progId="TCLayout.ActiveDocument.1">
                  <p:embed/>
                </p:oleObj>
              </mc:Choice>
              <mc:Fallback>
                <p:oleObj name="think-cell Slide" r:id="rId5" imgW="493" imgH="49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1F160D6B-B452-452F-87E9-4ABE62E0932F}"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288316120"/>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tags" Target="../tags/tag26.xml"/><Relationship Id="rId3" Type="http://schemas.openxmlformats.org/officeDocument/2006/relationships/slideLayout" Target="../slideLayouts/slideLayout33.xml"/><Relationship Id="rId21" Type="http://schemas.openxmlformats.org/officeDocument/2006/relationships/image" Target="../media/image1.emf"/><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tags" Target="../tags/tag25.xml"/><Relationship Id="rId2" Type="http://schemas.openxmlformats.org/officeDocument/2006/relationships/slideLayout" Target="../slideLayouts/slideLayout32.xml"/><Relationship Id="rId16" Type="http://schemas.openxmlformats.org/officeDocument/2006/relationships/vmlDrawing" Target="../drawings/vmlDrawing15.vml"/><Relationship Id="rId20" Type="http://schemas.openxmlformats.org/officeDocument/2006/relationships/oleObject" Target="../embeddings/oleObject15.bin"/><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theme" Target="../theme/theme3.xml"/><Relationship Id="rId10" Type="http://schemas.openxmlformats.org/officeDocument/2006/relationships/slideLayout" Target="../slideLayouts/slideLayout40.xml"/><Relationship Id="rId19" Type="http://schemas.openxmlformats.org/officeDocument/2006/relationships/tags" Target="../tags/tag27.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tags" Target="../tags/tag41.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tags" Target="../tags/tag40.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image" Target="../media/image1.emf"/><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vmlDrawing" Target="../drawings/vmlDrawing25.v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theme" Target="../theme/theme4.xml"/><Relationship Id="rId28" Type="http://schemas.openxmlformats.org/officeDocument/2006/relationships/oleObject" Target="../embeddings/oleObject25.bin"/><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tags" Target="../tags/tag42.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oleObject" Target="../embeddings/oleObject39.bin"/><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ags" Target="../tags/tag66.xml"/><Relationship Id="rId2" Type="http://schemas.openxmlformats.org/officeDocument/2006/relationships/slideLayout" Target="../slideLayouts/slideLayout68.xml"/><Relationship Id="rId16" Type="http://schemas.openxmlformats.org/officeDocument/2006/relationships/image" Target="../media/image2.png"/><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tags" Target="../tags/tag65.xml"/><Relationship Id="rId5" Type="http://schemas.openxmlformats.org/officeDocument/2006/relationships/slideLayout" Target="../slideLayouts/slideLayout71.xml"/><Relationship Id="rId15" Type="http://schemas.openxmlformats.org/officeDocument/2006/relationships/image" Target="../media/image3.png"/><Relationship Id="rId10" Type="http://schemas.openxmlformats.org/officeDocument/2006/relationships/tags" Target="../tags/tag64.xml"/><Relationship Id="rId4" Type="http://schemas.openxmlformats.org/officeDocument/2006/relationships/slideLayout" Target="../slideLayouts/slideLayout70.xml"/><Relationship Id="rId9" Type="http://schemas.openxmlformats.org/officeDocument/2006/relationships/vmlDrawing" Target="../drawings/vmlDrawing40.vml"/><Relationship Id="rId1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theme" Target="../theme/theme6.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2"/>
            </p:custDataLst>
            <p:extLst>
              <p:ext uri="{D42A27DB-BD31-4B8C-83A1-F6EECF244321}">
                <p14:modId xmlns:p14="http://schemas.microsoft.com/office/powerpoint/2010/main" val="3352196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25" imgW="353" imgH="353" progId="TCLayout.ActiveDocument.1">
                  <p:embed/>
                </p:oleObj>
              </mc:Choice>
              <mc:Fallback>
                <p:oleObj name="think-cell Slide" r:id="rId25" imgW="353" imgH="353" progId="TCLayout.ActiveDocument.1">
                  <p:embed/>
                  <p:pic>
                    <p:nvPicPr>
                      <p:cNvPr id="7" name="Object 6" hidden="1"/>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5" name="Footer Placeholder 4"/>
          <p:cNvSpPr>
            <a:spLocks noGrp="1"/>
          </p:cNvSpPr>
          <p:nvPr>
            <p:ph type="ftr" sz="quarter" idx="3"/>
          </p:nvPr>
        </p:nvSpPr>
        <p:spPr>
          <a:xfrm>
            <a:off x="507205" y="6623100"/>
            <a:ext cx="9018587" cy="216000"/>
          </a:xfrm>
          <a:prstGeom prst="rect">
            <a:avLst/>
          </a:prstGeom>
        </p:spPr>
        <p:txBody>
          <a:bodyPr vert="horz" lIns="0" tIns="0" rIns="0" bIns="0" rtlCol="0" anchor="ctr" anchorCtr="0">
            <a:noAutofit/>
          </a:bodyPr>
          <a:lstStyle>
            <a:lvl1pPr algn="l">
              <a:defRPr sz="1000">
                <a:solidFill>
                  <a:schemeClr val="bg1"/>
                </a:solidFill>
                <a:latin typeface="Calibri" panose="020F0502020204030204" pitchFamily="34" charset="0"/>
                <a:cs typeface="Calibri" panose="020F0502020204030204" pitchFamily="34" charset="0"/>
              </a:defRPr>
            </a:lvl1pPr>
          </a:lstStyle>
          <a:p>
            <a:r>
              <a:rPr lang="en-US"/>
              <a:t>Lonza Microbiome JV - media briefing  |  3 April 2019</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23"/>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2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43993882"/>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670" r:id="rId4"/>
    <p:sldLayoutId id="2147483663" r:id="rId5"/>
    <p:sldLayoutId id="2147483696" r:id="rId6"/>
    <p:sldLayoutId id="2147483695" r:id="rId7"/>
    <p:sldLayoutId id="2147483662" r:id="rId8"/>
    <p:sldLayoutId id="2147483693" r:id="rId9"/>
    <p:sldLayoutId id="2147483678" r:id="rId10"/>
    <p:sldLayoutId id="2147483686" r:id="rId11"/>
    <p:sldLayoutId id="2147483691" r:id="rId12"/>
    <p:sldLayoutId id="2147483692" r:id="rId13"/>
    <p:sldLayoutId id="2147483683" r:id="rId14"/>
    <p:sldLayoutId id="2147483666" r:id="rId15"/>
    <p:sldLayoutId id="2147483667" r:id="rId16"/>
    <p:sldLayoutId id="2147483697" r:id="rId17"/>
    <p:sldLayoutId id="2147483694" r:id="rId18"/>
    <p:sldLayoutId id="2147483701" r:id="rId19"/>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userDrawn="1">
          <p15:clr>
            <a:srgbClr val="F26B43"/>
          </p15:clr>
        </p15:guide>
        <p15:guide id="2" pos="3840" userDrawn="1">
          <p15:clr>
            <a:srgbClr val="F26B43"/>
          </p15:clr>
        </p15:guide>
        <p15:guide id="3" pos="320" userDrawn="1">
          <p15:clr>
            <a:srgbClr val="F26B43"/>
          </p15:clr>
        </p15:guide>
        <p15:guide id="4" pos="7360" userDrawn="1">
          <p15:clr>
            <a:srgbClr val="F26B43"/>
          </p15:clr>
        </p15:guide>
        <p15:guide id="5" orient="horz" pos="319" userDrawn="1">
          <p15:clr>
            <a:srgbClr val="F26B43"/>
          </p15:clr>
        </p15:guide>
        <p15:guide id="6" orient="horz" pos="4001" userDrawn="1">
          <p15:clr>
            <a:srgbClr val="F26B43"/>
          </p15:clr>
        </p15:guide>
        <p15:guide id="7" orient="horz" pos="1200" userDrawn="1">
          <p15:clr>
            <a:srgbClr val="F26B43"/>
          </p15:clr>
        </p15:guide>
        <p15:guide id="8" orient="horz" pos="2160" userDrawn="1">
          <p15:clr>
            <a:srgbClr val="F26B43"/>
          </p15:clr>
        </p15:guide>
        <p15:guide id="9" pos="3761" userDrawn="1">
          <p15:clr>
            <a:srgbClr val="F26B43"/>
          </p15:clr>
        </p15:guide>
        <p15:guide id="10" pos="3920" userDrawn="1">
          <p15:clr>
            <a:srgbClr val="F26B43"/>
          </p15:clr>
        </p15:guide>
        <p15:guide id="11" pos="2718" userDrawn="1">
          <p15:clr>
            <a:srgbClr val="F26B43"/>
          </p15:clr>
        </p15:guide>
        <p15:guide id="12" pos="2560" userDrawn="1">
          <p15:clr>
            <a:srgbClr val="F26B43"/>
          </p15:clr>
        </p15:guide>
        <p15:guide id="13" pos="1518" userDrawn="1">
          <p15:clr>
            <a:srgbClr val="F26B43"/>
          </p15:clr>
        </p15:guide>
        <p15:guide id="14" pos="1360" userDrawn="1">
          <p15:clr>
            <a:srgbClr val="F26B43"/>
          </p15:clr>
        </p15:guide>
        <p15:guide id="15" pos="4961" userDrawn="1">
          <p15:clr>
            <a:srgbClr val="F26B43"/>
          </p15:clr>
        </p15:guide>
        <p15:guide id="16" pos="5120" userDrawn="1">
          <p15:clr>
            <a:srgbClr val="F26B43"/>
          </p15:clr>
        </p15:guide>
        <p15:guide id="17" pos="6163" userDrawn="1">
          <p15:clr>
            <a:srgbClr val="F26B43"/>
          </p15:clr>
        </p15:guide>
        <p15:guide id="18" pos="632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E9905E3-23C9-9848-89B6-E255D0E48656}" type="datetimeFigureOut">
              <a:rPr lang="en-US" smtClean="0"/>
              <a:t>6/1/2022</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B3B4D9-8411-C548-A00F-5598DA004BB1}" type="slidenum">
              <a:rPr lang="en-US" smtClean="0"/>
              <a:t>‹#›</a:t>
            </a:fld>
            <a:endParaRPr lang="en-US"/>
          </a:p>
        </p:txBody>
      </p:sp>
    </p:spTree>
    <p:extLst>
      <p:ext uri="{BB962C8B-B14F-4D97-AF65-F5344CB8AC3E}">
        <p14:creationId xmlns:p14="http://schemas.microsoft.com/office/powerpoint/2010/main" val="1990037943"/>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7"/>
            </p:custDataLst>
            <p:extLst>
              <p:ext uri="{D42A27DB-BD31-4B8C-83A1-F6EECF244321}">
                <p14:modId xmlns:p14="http://schemas.microsoft.com/office/powerpoint/2010/main" val="188791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20" imgW="353" imgH="353" progId="TCLayout.ActiveDocument.1">
                  <p:embed/>
                </p:oleObj>
              </mc:Choice>
              <mc:Fallback>
                <p:oleObj name="think-cell Slide" r:id="rId20" imgW="353" imgH="353" progId="TCLayout.ActiveDocument.1">
                  <p:embed/>
                  <p:pic>
                    <p:nvPicPr>
                      <p:cNvPr id="7" name="Object 6"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5" name="Footer Placeholder 4"/>
          <p:cNvSpPr>
            <a:spLocks noGrp="1"/>
          </p:cNvSpPr>
          <p:nvPr>
            <p:ph type="ftr" sz="quarter" idx="3"/>
          </p:nvPr>
        </p:nvSpPr>
        <p:spPr>
          <a:xfrm>
            <a:off x="507205" y="6623100"/>
            <a:ext cx="9018587" cy="216000"/>
          </a:xfrm>
          <a:prstGeom prst="rect">
            <a:avLst/>
          </a:prstGeom>
        </p:spPr>
        <p:txBody>
          <a:bodyPr vert="horz" lIns="0" tIns="0" rIns="0" bIns="0" rtlCol="0" anchor="ctr" anchorCtr="0">
            <a:noAutofit/>
          </a:bodyPr>
          <a:lstStyle>
            <a:lvl1pPr algn="l">
              <a:defRPr sz="1000">
                <a:solidFill>
                  <a:schemeClr val="bg1"/>
                </a:solidFill>
                <a:latin typeface="Calibri" panose="020F0502020204030204" pitchFamily="34" charset="0"/>
                <a:cs typeface="Calibri" panose="020F0502020204030204" pitchFamily="34" charset="0"/>
              </a:defRPr>
            </a:lvl1pPr>
          </a:lstStyle>
          <a:p>
            <a:r>
              <a:rPr lang="en-US"/>
              <a:t>Lonza Microbiome JV - media briefing  |  3 April 2019</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8"/>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19"/>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362357950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graphicFrame>
        <p:nvGraphicFramePr>
          <p:cNvPr id="7" name="Object 6" hidden="1"/>
          <p:cNvGraphicFramePr>
            <a:graphicFrameLocks noChangeAspect="1"/>
          </p:cNvGraphicFramePr>
          <p:nvPr userDrawn="1">
            <p:custDataLst>
              <p:tags r:id="rId25"/>
            </p:custDataLst>
            <p:extLst>
              <p:ext uri="{D42A27DB-BD31-4B8C-83A1-F6EECF244321}">
                <p14:modId xmlns:p14="http://schemas.microsoft.com/office/powerpoint/2010/main" val="30197930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28" imgW="353" imgH="353" progId="TCLayout.ActiveDocument.1">
                  <p:embed/>
                </p:oleObj>
              </mc:Choice>
              <mc:Fallback>
                <p:oleObj name="think-cell Slide" r:id="rId28" imgW="353" imgH="353" progId="TCLayout.ActiveDocument.1">
                  <p:embed/>
                  <p:pic>
                    <p:nvPicPr>
                      <p:cNvPr id="7" name="Object 6"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26"/>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27"/>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3984225794"/>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 id="2147483751" r:id="rId22"/>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graphicFrame>
        <p:nvGraphicFramePr>
          <p:cNvPr id="7" name="Object 6" hidden="1"/>
          <p:cNvGraphicFramePr>
            <a:graphicFrameLocks noChangeAspect="1"/>
          </p:cNvGraphicFramePr>
          <p:nvPr userDrawn="1">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2" name="think-cell Slide" r:id="rId13" imgW="353" imgH="353" progId="TCLayout.ActiveDocument.1">
                  <p:embed/>
                </p:oleObj>
              </mc:Choice>
              <mc:Fallback>
                <p:oleObj name="think-cell Slide" r:id="rId13" imgW="353" imgH="353" progId="TCLayout.ActiveDocument.1">
                  <p:embed/>
                  <p:pic>
                    <p:nvPicPr>
                      <p:cNvPr id="7" name="Object 6"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dirty="0"/>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1"/>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12"/>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
        <p:nvSpPr>
          <p:cNvPr id="24" name="Slide Number Placeholder 5">
            <a:extLst>
              <a:ext uri="{FF2B5EF4-FFF2-40B4-BE49-F238E27FC236}">
                <a16:creationId xmlns:a16="http://schemas.microsoft.com/office/drawing/2014/main" id="{B829967B-7F78-D545-9EC5-F20832EAF5FC}"/>
              </a:ext>
            </a:extLst>
          </p:cNvPr>
          <p:cNvSpPr txBox="1">
            <a:spLocks/>
          </p:cNvSpPr>
          <p:nvPr userDrawn="1"/>
        </p:nvSpPr>
        <p:spPr>
          <a:xfrm>
            <a:off x="10034587" y="6623100"/>
            <a:ext cx="1648619" cy="216000"/>
          </a:xfrm>
          <a:prstGeom prst="rect">
            <a:avLst/>
          </a:prstGeom>
        </p:spPr>
        <p:txBody>
          <a:bodyPr/>
          <a:ls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29" name="Picture 28" descr="https://extranet.who.int/datacol/answer_upload.asp?survey_id=475&amp;view_id=326&amp;question_id=15106&amp;answer_id=47397&amp;respondent_id=22063">
            <a:extLst>
              <a:ext uri="{FF2B5EF4-FFF2-40B4-BE49-F238E27FC236}">
                <a16:creationId xmlns:a16="http://schemas.microsoft.com/office/drawing/2014/main" id="{F7E2392F-6972-B04F-9EE6-57E8EBCA8366}"/>
              </a:ext>
            </a:extLst>
          </p:cNvPr>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0" name="Picture 29">
            <a:extLst>
              <a:ext uri="{FF2B5EF4-FFF2-40B4-BE49-F238E27FC236}">
                <a16:creationId xmlns:a16="http://schemas.microsoft.com/office/drawing/2014/main" id="{706D459D-5E4C-F14F-9C67-092E8973B1F1}"/>
              </a:ext>
            </a:extLst>
          </p:cNvPr>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2549982486"/>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95929C4-C361-1D40-A38B-BC40E614FE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9FE70D35-EE5D-F746-AE35-0C8B34F947C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1A27566E-2DA5-A240-88C5-419CC1D7588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940B1DE-56CF-6843-82D8-A569B7056537}" type="datetimeFigureOut">
              <a:rPr lang="en-GB" smtClean="0"/>
              <a:t>01/06/2022</a:t>
            </a:fld>
            <a:endParaRPr lang="en-GB"/>
          </a:p>
        </p:txBody>
      </p:sp>
      <p:sp>
        <p:nvSpPr>
          <p:cNvPr id="5" name="Footer Placeholder 4">
            <a:extLst>
              <a:ext uri="{FF2B5EF4-FFF2-40B4-BE49-F238E27FC236}">
                <a16:creationId xmlns:a16="http://schemas.microsoft.com/office/drawing/2014/main" id="{681F22C8-2E8C-BE44-9208-D21D418733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9943DBDD-601A-C74B-AF1F-DE23A4FE06A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A22C557-D4D3-E845-8BBE-ABD3304E2424}" type="slidenum">
              <a:rPr lang="en-GB" smtClean="0"/>
              <a:t>‹#›</a:t>
            </a:fld>
            <a:endParaRPr lang="en-GB"/>
          </a:p>
        </p:txBody>
      </p:sp>
    </p:spTree>
    <p:extLst>
      <p:ext uri="{BB962C8B-B14F-4D97-AF65-F5344CB8AC3E}">
        <p14:creationId xmlns:p14="http://schemas.microsoft.com/office/powerpoint/2010/main" val="1355181306"/>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9.xml"/><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19.tif"/><Relationship Id="rId2" Type="http://schemas.openxmlformats.org/officeDocument/2006/relationships/notesSlide" Target="../notesSlides/notesSlide7.xml"/><Relationship Id="rId1" Type="http://schemas.openxmlformats.org/officeDocument/2006/relationships/slideLayout" Target="../slideLayouts/slideLayout44.xml"/><Relationship Id="rId5" Type="http://schemas.openxmlformats.org/officeDocument/2006/relationships/image" Target="../media/image10.png"/><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8.xml"/><Relationship Id="rId1" Type="http://schemas.openxmlformats.org/officeDocument/2006/relationships/slideLayout" Target="../slideLayouts/slideLayout73.xml"/><Relationship Id="rId5" Type="http://schemas.openxmlformats.org/officeDocument/2006/relationships/image" Target="../media/image10.png"/><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9.xml"/><Relationship Id="rId1" Type="http://schemas.openxmlformats.org/officeDocument/2006/relationships/slideLayout" Target="../slideLayouts/slideLayout19.xml"/><Relationship Id="rId5" Type="http://schemas.openxmlformats.org/officeDocument/2006/relationships/image" Target="../media/image10.png"/><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0.xml"/><Relationship Id="rId1" Type="http://schemas.openxmlformats.org/officeDocument/2006/relationships/slideLayout" Target="../slideLayouts/slideLayout66.xml"/><Relationship Id="rId5" Type="http://schemas.openxmlformats.org/officeDocument/2006/relationships/image" Target="../media/image10.png"/><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notesSlide" Target="../notesSlides/notesSlide14.xml"/><Relationship Id="rId1" Type="http://schemas.openxmlformats.org/officeDocument/2006/relationships/slideLayout" Target="../slideLayouts/slideLayout26.xml"/><Relationship Id="rId5" Type="http://schemas.openxmlformats.org/officeDocument/2006/relationships/image" Target="../media/image23.png"/><Relationship Id="rId4" Type="http://schemas.openxmlformats.org/officeDocument/2006/relationships/hyperlink" Target="https://www.who.int/teams/mental-health-and-substance-use/policy-law-rights/qr-e-training"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Layout" Target="../slideLayouts/slideLayout26.xml"/><Relationship Id="rId1" Type="http://schemas.openxmlformats.org/officeDocument/2006/relationships/video" Target="https://www.youtube.com/embed/phd_PoHuL9c?feature=oembed"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Layout" Target="../slideLayouts/slideLayout2.xml"/><Relationship Id="rId1" Type="http://schemas.openxmlformats.org/officeDocument/2006/relationships/video" Target="https://www.youtube.com/embed/fhF6mv03Cx0?list=PL5TDweKna9th3qIE5BJ5GxwoRh-UGyPKz"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5.xml"/></Relationships>
</file>

<file path=ppt/slides/_rels/slide3.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Layout" Target="../slideLayouts/slideLayout75.xml"/></Relationships>
</file>

<file path=ppt/slides/_rels/slide30.xml.rels><?xml version="1.0" encoding="UTF-8" standalone="yes"?>
<Relationships xmlns="http://schemas.openxmlformats.org/package/2006/relationships"><Relationship Id="rId2" Type="http://schemas.openxmlformats.org/officeDocument/2006/relationships/image" Target="../media/image31.tiff"/><Relationship Id="rId1" Type="http://schemas.openxmlformats.org/officeDocument/2006/relationships/slideLayout" Target="../slideLayouts/slideLayout85.xml"/></Relationships>
</file>

<file path=ppt/slides/_rels/slide31.xml.rels><?xml version="1.0" encoding="UTF-8" standalone="yes"?>
<Relationships xmlns="http://schemas.openxmlformats.org/package/2006/relationships"><Relationship Id="rId3" Type="http://schemas.openxmlformats.org/officeDocument/2006/relationships/hyperlink" Target="http://www.who.int/mental_health/policy/quality_rights/en/" TargetMode="External"/><Relationship Id="rId2" Type="http://schemas.openxmlformats.org/officeDocument/2006/relationships/hyperlink" Target="http://ap.ohchr.org/documents/dpage_e.aspx?si=A/HRC/35/21" TargetMode="External"/><Relationship Id="rId1" Type="http://schemas.openxmlformats.org/officeDocument/2006/relationships/slideLayout" Target="../slideLayouts/slideLayout85.xml"/></Relationships>
</file>

<file path=ppt/slides/_rels/slide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85.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4.x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notesSlide" Target="../notesSlides/notesSlide17.xml"/><Relationship Id="rId1" Type="http://schemas.openxmlformats.org/officeDocument/2006/relationships/slideLayout" Target="../slideLayouts/slideLayout80.xml"/><Relationship Id="rId5" Type="http://schemas.openxmlformats.org/officeDocument/2006/relationships/image" Target="../media/image23.png"/><Relationship Id="rId4" Type="http://schemas.openxmlformats.org/officeDocument/2006/relationships/hyperlink" Target="https://www.who.int/teams/mental-health-and-substance-use/policy-law-rights/qr-e-training"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3.xml"/><Relationship Id="rId1" Type="http://schemas.openxmlformats.org/officeDocument/2006/relationships/slideLayout" Target="../slideLayouts/slideLayout75.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5.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A43F21E-672A-4E6F-8C9D-CA9208894C18}"/>
              </a:ext>
            </a:extLst>
          </p:cNvPr>
          <p:cNvSpPr/>
          <p:nvPr/>
        </p:nvSpPr>
        <p:spPr>
          <a:xfrm>
            <a:off x="-14515" y="4889498"/>
            <a:ext cx="12192001" cy="19833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3" name="Picture 2" descr="A person holding a baby&#10;&#10;Description generated with very high confidence">
            <a:extLst>
              <a:ext uri="{FF2B5EF4-FFF2-40B4-BE49-F238E27FC236}">
                <a16:creationId xmlns:a16="http://schemas.microsoft.com/office/drawing/2014/main" id="{2F7AE93E-363D-441B-B8BE-7628C9ADD7F6}"/>
              </a:ext>
            </a:extLst>
          </p:cNvPr>
          <p:cNvPicPr>
            <a:picLocks noChangeAspect="1"/>
          </p:cNvPicPr>
          <p:nvPr/>
        </p:nvPicPr>
        <p:blipFill rotWithShape="1">
          <a:blip r:embed="rId3">
            <a:extLst>
              <a:ext uri="{28A0092B-C50C-407E-A947-70E740481C1C}">
                <a14:useLocalDpi xmlns:a14="http://schemas.microsoft.com/office/drawing/2010/main" val="0"/>
              </a:ext>
            </a:extLst>
          </a:blip>
          <a:srcRect l="609" t="25504" r="357" b="43903"/>
          <a:stretch/>
        </p:blipFill>
        <p:spPr>
          <a:xfrm>
            <a:off x="0" y="-1"/>
            <a:ext cx="12192000" cy="3454218"/>
          </a:xfrm>
          <a:prstGeom prst="rect">
            <a:avLst/>
          </a:prstGeom>
        </p:spPr>
      </p:pic>
      <p:grpSp>
        <p:nvGrpSpPr>
          <p:cNvPr id="6" name="Group 5">
            <a:extLst>
              <a:ext uri="{FF2B5EF4-FFF2-40B4-BE49-F238E27FC236}">
                <a16:creationId xmlns:a16="http://schemas.microsoft.com/office/drawing/2014/main" id="{E9DFEB22-E759-4243-81A0-025B8746DE33}"/>
              </a:ext>
            </a:extLst>
          </p:cNvPr>
          <p:cNvGrpSpPr/>
          <p:nvPr/>
        </p:nvGrpSpPr>
        <p:grpSpPr>
          <a:xfrm>
            <a:off x="395133" y="2745561"/>
            <a:ext cx="7030682" cy="2143938"/>
            <a:chOff x="438676" y="5057052"/>
            <a:chExt cx="7030682" cy="2029099"/>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5918581" cy="1718602"/>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57052"/>
              <a:ext cx="6963842"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pPr>
              <a:r>
                <a:rPr lang="en-US" altLang="en-US" sz="4800" b="1" dirty="0">
                  <a:solidFill>
                    <a:srgbClr val="FFFFFE"/>
                  </a:solidFill>
                  <a:latin typeface="Calibri" panose="020F0502020204030204" pitchFamily="34" charset="0"/>
                </a:rPr>
                <a:t>QualityRights</a:t>
              </a:r>
            </a:p>
            <a:p>
              <a:pPr lvl="0" eaLnBrk="0" fontAlgn="base" hangingPunct="0">
                <a:spcBef>
                  <a:spcPct val="0"/>
                </a:spcBef>
                <a:spcAft>
                  <a:spcPct val="0"/>
                </a:spcAft>
              </a:pPr>
              <a:r>
                <a:rPr lang="en-US" altLang="en-US" sz="2400" b="1" dirty="0" err="1">
                  <a:solidFill>
                    <a:srgbClr val="FFFFFE"/>
                  </a:solidFill>
                  <a:latin typeface="Calibri" panose="020F0502020204030204" pitchFamily="34" charset="0"/>
                </a:rPr>
                <a:t>Framtidas</a:t>
              </a:r>
              <a:r>
                <a:rPr lang="en-US" altLang="en-US" sz="2400" b="1" dirty="0">
                  <a:solidFill>
                    <a:srgbClr val="FFFFFE"/>
                  </a:solidFill>
                  <a:latin typeface="Calibri" panose="020F0502020204030204" pitchFamily="34" charset="0"/>
                </a:rPr>
                <a:t> </a:t>
              </a:r>
              <a:r>
                <a:rPr lang="en-US" altLang="en-US" sz="2400" b="1" dirty="0" err="1">
                  <a:solidFill>
                    <a:srgbClr val="FFFFFE"/>
                  </a:solidFill>
                  <a:latin typeface="Calibri" panose="020F0502020204030204" pitchFamily="34" charset="0"/>
                </a:rPr>
                <a:t>tjenester</a:t>
              </a:r>
              <a:r>
                <a:rPr lang="en-US" altLang="en-US" sz="2400" b="1" dirty="0">
                  <a:solidFill>
                    <a:srgbClr val="FFFFFE"/>
                  </a:solidFill>
                  <a:latin typeface="Calibri" panose="020F0502020204030204" pitchFamily="34" charset="0"/>
                </a:rPr>
                <a:t> </a:t>
              </a:r>
              <a:r>
                <a:rPr lang="en-US" altLang="en-US" sz="2400" b="1" dirty="0" err="1">
                  <a:solidFill>
                    <a:srgbClr val="FFFFFE"/>
                  </a:solidFill>
                  <a:latin typeface="Calibri" panose="020F0502020204030204" pitchFamily="34" charset="0"/>
                </a:rPr>
                <a:t>innen</a:t>
              </a:r>
              <a:r>
                <a:rPr lang="en-US" altLang="en-US" sz="2400" b="1" dirty="0">
                  <a:solidFill>
                    <a:srgbClr val="FFFFFE"/>
                  </a:solidFill>
                  <a:latin typeface="Calibri" panose="020F0502020204030204" pitchFamily="34" charset="0"/>
                </a:rPr>
                <a:t> </a:t>
              </a:r>
              <a:r>
                <a:rPr lang="en-US" altLang="en-US" sz="2400" b="1" dirty="0" err="1">
                  <a:solidFill>
                    <a:srgbClr val="FFFFFE"/>
                  </a:solidFill>
                  <a:latin typeface="Calibri" panose="020F0502020204030204" pitchFamily="34" charset="0"/>
                </a:rPr>
                <a:t>psykososial</a:t>
              </a:r>
              <a:r>
                <a:rPr lang="en-US" altLang="en-US" sz="2400" b="1" dirty="0">
                  <a:solidFill>
                    <a:srgbClr val="FFFFFE"/>
                  </a:solidFill>
                  <a:latin typeface="Calibri" panose="020F0502020204030204" pitchFamily="34" charset="0"/>
                </a:rPr>
                <a:t> </a:t>
              </a:r>
              <a:r>
                <a:rPr lang="en-US" altLang="en-US" sz="2400" b="1" dirty="0" err="1">
                  <a:solidFill>
                    <a:srgbClr val="FFFFFE"/>
                  </a:solidFill>
                  <a:latin typeface="Calibri" panose="020F0502020204030204" pitchFamily="34" charset="0"/>
                </a:rPr>
                <a:t>helse</a:t>
              </a:r>
              <a:endParaRPr kumimoji="0" lang="en-US" altLang="en-US" sz="2400" b="1" i="0" u="none" strike="noStrike" cap="none" normalizeH="0" baseline="0" dirty="0">
                <a:ln>
                  <a:noFill/>
                </a:ln>
                <a:solidFill>
                  <a:srgbClr val="FFFFFE"/>
                </a:solidFill>
                <a:effectLst/>
                <a:latin typeface="Calibri" panose="020F0502020204030204" pitchFamily="34" charset="0"/>
              </a:endParaRP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59752" y="-344870"/>
            <a:ext cx="2243467" cy="1219200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9898742" y="249572"/>
            <a:ext cx="2293258"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a:ln>
                  <a:noFill/>
                </a:ln>
                <a:solidFill>
                  <a:srgbClr val="FFFFFE"/>
                </a:solidFill>
                <a:effectLst/>
                <a:latin typeface="Calibri" panose="020F0502020204030204" pitchFamily="34" charset="0"/>
              </a:rPr>
              <a:t>Course Slides</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16" name="Text Box 2">
            <a:extLst>
              <a:ext uri="{FF2B5EF4-FFF2-40B4-BE49-F238E27FC236}">
                <a16:creationId xmlns:a16="http://schemas.microsoft.com/office/drawing/2014/main" id="{E6CF4AAF-98E7-4232-AE1D-3708D1E74ADB}"/>
              </a:ext>
            </a:extLst>
          </p:cNvPr>
          <p:cNvSpPr txBox="1">
            <a:spLocks noChangeArrowheads="1"/>
          </p:cNvSpPr>
          <p:nvPr/>
        </p:nvSpPr>
        <p:spPr bwMode="auto">
          <a:xfrm>
            <a:off x="395133" y="4916156"/>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defTabSz="914400" eaLnBrk="0" fontAlgn="base" hangingPunct="0">
              <a:spcBef>
                <a:spcPct val="0"/>
              </a:spcBef>
              <a:spcAft>
                <a:spcPct val="0"/>
              </a:spcAft>
            </a:pPr>
            <a:r>
              <a:rPr lang="en-GB" altLang="en-US" sz="3000" dirty="0">
                <a:solidFill>
                  <a:srgbClr val="00B0F0"/>
                </a:solidFill>
                <a:latin typeface="Calibri" panose="020F0502020204030204" pitchFamily="34" charset="0"/>
              </a:rPr>
              <a:t>WAPR </a:t>
            </a:r>
            <a:r>
              <a:rPr lang="en-GB" altLang="en-US" sz="3000" dirty="0" err="1">
                <a:solidFill>
                  <a:srgbClr val="00B0F0"/>
                </a:solidFill>
                <a:latin typeface="Calibri" panose="020F0502020204030204" pitchFamily="34" charset="0"/>
              </a:rPr>
              <a:t>Konferanse</a:t>
            </a:r>
            <a:r>
              <a:rPr lang="en-GB" altLang="en-US" sz="3000" dirty="0">
                <a:solidFill>
                  <a:srgbClr val="00B0F0"/>
                </a:solidFill>
                <a:latin typeface="Calibri" panose="020F0502020204030204" pitchFamily="34" charset="0"/>
              </a:rPr>
              <a:t>- </a:t>
            </a:r>
            <a:r>
              <a:rPr lang="en-GB" altLang="en-US" sz="3000" dirty="0" err="1">
                <a:solidFill>
                  <a:srgbClr val="00B0F0"/>
                </a:solidFill>
                <a:latin typeface="Calibri" panose="020F0502020204030204" pitchFamily="34" charset="0"/>
              </a:rPr>
              <a:t>mai</a:t>
            </a:r>
            <a:r>
              <a:rPr lang="en-GB" altLang="en-US" sz="3000" dirty="0">
                <a:solidFill>
                  <a:srgbClr val="00B0F0"/>
                </a:solidFill>
                <a:latin typeface="Calibri" panose="020F0502020204030204" pitchFamily="34" charset="0"/>
              </a:rPr>
              <a:t> 2022</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 name="Text Box 2">
            <a:extLst>
              <a:ext uri="{FF2B5EF4-FFF2-40B4-BE49-F238E27FC236}">
                <a16:creationId xmlns:a16="http://schemas.microsoft.com/office/drawing/2014/main" id="{E5BD192D-5240-4527-9E86-E73D0670EDC7}"/>
              </a:ext>
            </a:extLst>
          </p:cNvPr>
          <p:cNvSpPr txBox="1">
            <a:spLocks noChangeArrowheads="1"/>
          </p:cNvSpPr>
          <p:nvPr/>
        </p:nvSpPr>
        <p:spPr bwMode="auto">
          <a:xfrm>
            <a:off x="11157084" y="3174107"/>
            <a:ext cx="1343025"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E"/>
                </a:solidFill>
                <a:effectLst/>
                <a:latin typeface="Calibri" panose="020F0502020204030204" pitchFamily="34" charset="0"/>
              </a:rPr>
              <a:t>WHO/Harold Ruiz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0274315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566528-1B12-4246-9431-5C2D7D0811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46D58DB-1F2C-38CA-75A0-449136260AE2}"/>
              </a:ext>
            </a:extLst>
          </p:cNvPr>
          <p:cNvSpPr>
            <a:spLocks noGrp="1"/>
          </p:cNvSpPr>
          <p:nvPr>
            <p:ph type="title"/>
          </p:nvPr>
        </p:nvSpPr>
        <p:spPr>
          <a:xfrm>
            <a:off x="643467" y="321734"/>
            <a:ext cx="10905066" cy="1135737"/>
          </a:xfrm>
        </p:spPr>
        <p:txBody>
          <a:bodyPr>
            <a:normAutofit/>
          </a:bodyPr>
          <a:lstStyle/>
          <a:p>
            <a:endParaRPr lang="nb-NO" sz="3600"/>
          </a:p>
        </p:txBody>
      </p:sp>
      <p:sp>
        <p:nvSpPr>
          <p:cNvPr id="3" name="Content Placeholder 2">
            <a:extLst>
              <a:ext uri="{FF2B5EF4-FFF2-40B4-BE49-F238E27FC236}">
                <a16:creationId xmlns:a16="http://schemas.microsoft.com/office/drawing/2014/main" id="{355EA6A1-53BE-28EA-70EC-6C13A452266F}"/>
              </a:ext>
            </a:extLst>
          </p:cNvPr>
          <p:cNvSpPr>
            <a:spLocks noGrp="1"/>
          </p:cNvSpPr>
          <p:nvPr>
            <p:ph idx="1"/>
          </p:nvPr>
        </p:nvSpPr>
        <p:spPr>
          <a:xfrm>
            <a:off x="643467" y="1782981"/>
            <a:ext cx="10905066" cy="4393982"/>
          </a:xfrm>
        </p:spPr>
        <p:txBody>
          <a:bodyPr>
            <a:normAutofit/>
          </a:bodyPr>
          <a:lstStyle/>
          <a:p>
            <a:pPr marL="0" indent="0">
              <a:buNone/>
            </a:pPr>
            <a:endParaRPr lang="nb-NO" sz="2000" dirty="0"/>
          </a:p>
          <a:p>
            <a:r>
              <a:rPr lang="nb-NO" sz="2800" dirty="0"/>
              <a:t>Har du noe tanker om hvordan vi kan få dette til?</a:t>
            </a:r>
          </a:p>
          <a:p>
            <a:endParaRPr lang="nb-NO" sz="2800" dirty="0"/>
          </a:p>
          <a:p>
            <a:r>
              <a:rPr lang="nb-NO" sz="2800" dirty="0"/>
              <a:t>Hvorfor er det så mye motstand mot denne tilnærmingen?</a:t>
            </a:r>
          </a:p>
        </p:txBody>
      </p:sp>
      <p:sp>
        <p:nvSpPr>
          <p:cNvPr id="10" name="Rectangle 9">
            <a:extLst>
              <a:ext uri="{FF2B5EF4-FFF2-40B4-BE49-F238E27FC236}">
                <a16:creationId xmlns:a16="http://schemas.microsoft.com/office/drawing/2014/main" id="{2E80C965-DB6D-4F81-9E9E-B027384D0B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1052629" y="2120024"/>
            <a:ext cx="645368" cy="645368"/>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Isosceles Triangle 11">
            <a:extLst>
              <a:ext uri="{FF2B5EF4-FFF2-40B4-BE49-F238E27FC236}">
                <a16:creationId xmlns:a16="http://schemas.microsoft.com/office/drawing/2014/main" id="{A580F890-B085-4E95-96AA-55AEBEC5CE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0289068" y="1343027"/>
            <a:ext cx="2532832" cy="1273032"/>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Isosceles Triangle 13">
            <a:extLst>
              <a:ext uri="{FF2B5EF4-FFF2-40B4-BE49-F238E27FC236}">
                <a16:creationId xmlns:a16="http://schemas.microsoft.com/office/drawing/2014/main" id="{D3F51FEB-38FB-4F6C-9F7B-2F2AFAB654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01760" y="5103257"/>
            <a:ext cx="2017580" cy="1014060"/>
          </a:xfrm>
          <a:prstGeom prst="triangle">
            <a:avLst>
              <a:gd name="adj" fmla="val 50000"/>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Rectangle 15">
            <a:extLst>
              <a:ext uri="{FF2B5EF4-FFF2-40B4-BE49-F238E27FC236}">
                <a16:creationId xmlns:a16="http://schemas.microsoft.com/office/drawing/2014/main" id="{1E547BA6-BAE0-43BB-A7CA-60F69CE252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427916" y="5728708"/>
            <a:ext cx="485578" cy="48557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579961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Flowchart: Document 10">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rgbClr val="5773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838200" y="171162"/>
            <a:ext cx="2840182" cy="2371148"/>
          </a:xfrm>
          <a:prstGeom prst="rect">
            <a:avLst/>
          </a:prstGeom>
        </p:spPr>
        <p:txBody>
          <a:bodyPr vert="horz" lIns="91440" tIns="45720" rIns="91440" bIns="45720" rtlCol="0" anchor="ctr">
            <a:normAutofit/>
          </a:bodyPr>
          <a:lstStyle/>
          <a:p>
            <a:pPr defTabSz="914400">
              <a:lnSpc>
                <a:spcPct val="90000"/>
              </a:lnSpc>
              <a:spcBef>
                <a:spcPct val="0"/>
              </a:spcBef>
              <a:spcAft>
                <a:spcPts val="600"/>
              </a:spcAft>
            </a:pPr>
            <a:r>
              <a:rPr lang="en-US" sz="3200" kern="1200" dirty="0">
                <a:solidFill>
                  <a:srgbClr val="FFFFFF"/>
                </a:solidFill>
                <a:latin typeface="+mj-lt"/>
                <a:ea typeface="+mj-ea"/>
                <a:cs typeface="+mj-cs"/>
              </a:rPr>
              <a:t>Objectives of Quality Rights</a:t>
            </a:r>
          </a:p>
        </p:txBody>
      </p:sp>
      <p:pic>
        <p:nvPicPr>
          <p:cNvPr id="5" name="Picture 4" descr="Screen Shot 2017-05-23 at 18.22.1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07933" y="802744"/>
            <a:ext cx="7347537" cy="5253487"/>
          </a:xfrm>
          <a:prstGeom prst="rect">
            <a:avLst/>
          </a:prstGeom>
        </p:spPr>
      </p:pic>
    </p:spTree>
    <p:extLst>
      <p:ext uri="{BB962C8B-B14F-4D97-AF65-F5344CB8AC3E}">
        <p14:creationId xmlns:p14="http://schemas.microsoft.com/office/powerpoint/2010/main" val="31593651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6FF76B9-219D-4469-AF87-0236D2903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oup 10">
            <a:extLst>
              <a:ext uri="{FF2B5EF4-FFF2-40B4-BE49-F238E27FC236}">
                <a16:creationId xmlns:a16="http://schemas.microsoft.com/office/drawing/2014/main" id="{DB88BD78-87E1-424D-B479-C37D8E41B12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10964637" y="2358"/>
            <a:ext cx="1876653" cy="1766008"/>
            <a:chOff x="-648769" y="2358"/>
            <a:chExt cx="1876653" cy="1766008"/>
          </a:xfrm>
        </p:grpSpPr>
        <p:sp>
          <p:nvSpPr>
            <p:cNvPr id="12" name="Freeform: Shape 11">
              <a:extLst>
                <a:ext uri="{FF2B5EF4-FFF2-40B4-BE49-F238E27FC236}">
                  <a16:creationId xmlns:a16="http://schemas.microsoft.com/office/drawing/2014/main" id="{C05EB894-9410-4B20-95E4-7A25101AB8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415188" y="-231223"/>
              <a:ext cx="1409491" cy="1876653"/>
            </a:xfrm>
            <a:custGeom>
              <a:avLst/>
              <a:gdLst>
                <a:gd name="connsiteX0" fmla="*/ 0 w 1409491"/>
                <a:gd name="connsiteY0" fmla="*/ 643075 h 1876653"/>
                <a:gd name="connsiteX1" fmla="*/ 643075 w 1409491"/>
                <a:gd name="connsiteY1" fmla="*/ 0 h 1876653"/>
                <a:gd name="connsiteX2" fmla="*/ 1409491 w 1409491"/>
                <a:gd name="connsiteY2" fmla="*/ 0 h 1876653"/>
                <a:gd name="connsiteX3" fmla="*/ 1409491 w 1409491"/>
                <a:gd name="connsiteY3" fmla="*/ 1876653 h 1876653"/>
                <a:gd name="connsiteX4" fmla="*/ 1233578 w 1409491"/>
                <a:gd name="connsiteY4" fmla="*/ 1876653 h 1876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491" h="1876653">
                  <a:moveTo>
                    <a:pt x="0" y="643075"/>
                  </a:moveTo>
                  <a:lnTo>
                    <a:pt x="643075" y="0"/>
                  </a:lnTo>
                  <a:lnTo>
                    <a:pt x="1409491" y="0"/>
                  </a:lnTo>
                  <a:lnTo>
                    <a:pt x="1409491" y="1876653"/>
                  </a:lnTo>
                  <a:lnTo>
                    <a:pt x="1233578" y="1876653"/>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66E38B6-B050-4340-8E8F-3A971DADC0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301285" y="1282788"/>
              <a:ext cx="485578" cy="48557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Rectangle 14">
            <a:extLst>
              <a:ext uri="{FF2B5EF4-FFF2-40B4-BE49-F238E27FC236}">
                <a16:creationId xmlns:a16="http://schemas.microsoft.com/office/drawing/2014/main" id="{2E80C965-DB6D-4F81-9E9E-B027384D0B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737196" y="6033666"/>
            <a:ext cx="645368" cy="645368"/>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Isosceles Triangle 16">
            <a:extLst>
              <a:ext uri="{FF2B5EF4-FFF2-40B4-BE49-F238E27FC236}">
                <a16:creationId xmlns:a16="http://schemas.microsoft.com/office/drawing/2014/main" id="{633C5E46-DAC5-4661-9C87-22B08E2A51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43436" y="5721108"/>
            <a:ext cx="2261965" cy="1136891"/>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027742" y="643467"/>
            <a:ext cx="4136515" cy="55710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pic>
    </p:spTree>
    <p:extLst>
      <p:ext uri="{BB962C8B-B14F-4D97-AF65-F5344CB8AC3E}">
        <p14:creationId xmlns:p14="http://schemas.microsoft.com/office/powerpoint/2010/main" val="8871411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B205FCC-7DF1-410C-8C69-0B6BBFB019C7}"/>
              </a:ext>
            </a:extLst>
          </p:cNvPr>
          <p:cNvSpPr/>
          <p:nvPr/>
        </p:nvSpPr>
        <p:spPr>
          <a:xfrm>
            <a:off x="-14516" y="4992914"/>
            <a:ext cx="12206516" cy="1879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err="1">
              <a:ln>
                <a:noFill/>
              </a:ln>
              <a:solidFill>
                <a:srgbClr val="FFFFFF"/>
              </a:solidFill>
              <a:effectLst/>
              <a:uLnTx/>
              <a:uFillTx/>
              <a:latin typeface="Calibri Light"/>
              <a:ea typeface="Arial Unicode MS"/>
              <a:cs typeface="Arial Unicode MS"/>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 t="755" r="23" b="56348"/>
          <a:stretch/>
        </p:blipFill>
        <p:spPr bwMode="auto">
          <a:xfrm>
            <a:off x="-59700" y="-1"/>
            <a:ext cx="12245246" cy="3429002"/>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grpSp>
        <p:nvGrpSpPr>
          <p:cNvPr id="6" name="Group 5">
            <a:extLst>
              <a:ext uri="{FF2B5EF4-FFF2-40B4-BE49-F238E27FC236}">
                <a16:creationId xmlns:a16="http://schemas.microsoft.com/office/drawing/2014/main" id="{E9DFEB22-E759-4243-81A0-025B8746DE33}"/>
              </a:ext>
            </a:extLst>
          </p:cNvPr>
          <p:cNvGrpSpPr/>
          <p:nvPr/>
        </p:nvGrpSpPr>
        <p:grpSpPr>
          <a:xfrm>
            <a:off x="395133" y="2766645"/>
            <a:ext cx="4371054" cy="1446353"/>
            <a:chOff x="438676" y="5077006"/>
            <a:chExt cx="4371054" cy="1446353"/>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4371054" cy="1155810"/>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Arial Unicode MS"/>
                <a:cs typeface="Arial Unicode MS"/>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77006"/>
              <a:ext cx="4304214"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defRPr/>
              </a:pPr>
              <a:endParaRPr kumimoji="0" lang="en-US" altLang="en-US" sz="2400" b="1" i="0" u="none" strike="noStrike" kern="1200" cap="none" spc="0" normalizeH="0" baseline="0" noProof="0" dirty="0">
                <a:ln>
                  <a:noFill/>
                </a:ln>
                <a:solidFill>
                  <a:srgbClr val="FFFFFE"/>
                </a:solidFill>
                <a:effectLst/>
                <a:uLnTx/>
                <a:uFillTx/>
                <a:latin typeface="Calibri" panose="020F0502020204030204" pitchFamily="34" charset="0"/>
                <a:ea typeface="Arial Unicode MS"/>
                <a:cs typeface="Arial Unicode M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800" b="1" i="0" u="none" strike="noStrike" kern="1200" cap="none" spc="0" normalizeH="0" baseline="0" noProof="0" dirty="0">
                  <a:ln>
                    <a:noFill/>
                  </a:ln>
                  <a:solidFill>
                    <a:srgbClr val="FFFFFE"/>
                  </a:solidFill>
                  <a:effectLst/>
                  <a:uLnTx/>
                  <a:uFillTx/>
                  <a:latin typeface="Calibri" panose="020F0502020204030204" pitchFamily="34" charset="0"/>
                  <a:ea typeface="Arial Unicode MS"/>
                  <a:cs typeface="Arial Unicode MS"/>
                </a:rPr>
                <a:t>Human Rights</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Unicode MS"/>
              </a:endParaRP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59752" y="-344870"/>
            <a:ext cx="2243467" cy="1219200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Light"/>
              <a:ea typeface="Arial Unicode MS"/>
              <a:cs typeface="Arial Unicode MS"/>
            </a:endParaRPr>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1" name="Text Box 12">
            <a:extLst>
              <a:ext uri="{FF2B5EF4-FFF2-40B4-BE49-F238E27FC236}">
                <a16:creationId xmlns:a16="http://schemas.microsoft.com/office/drawing/2014/main" id="{8A889705-826F-4E1D-98E9-D019463EE526}"/>
              </a:ext>
            </a:extLst>
          </p:cNvPr>
          <p:cNvSpPr txBox="1">
            <a:spLocks noChangeArrowheads="1"/>
          </p:cNvSpPr>
          <p:nvPr/>
        </p:nvSpPr>
        <p:spPr bwMode="auto">
          <a:xfrm>
            <a:off x="395133" y="4231291"/>
            <a:ext cx="6814933" cy="544499"/>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3000" b="0" i="0" u="none" strike="noStrike" kern="1200" cap="none" spc="0" normalizeH="0" baseline="0" noProof="0" dirty="0">
                <a:ln>
                  <a:noFill/>
                </a:ln>
                <a:solidFill>
                  <a:srgbClr val="00B0F0"/>
                </a:solidFill>
                <a:effectLst/>
                <a:uLnTx/>
                <a:uFillTx/>
                <a:latin typeface="Calibri" panose="020F0502020204030204" pitchFamily="34" charset="0"/>
                <a:ea typeface="Arial Unicode MS"/>
                <a:cs typeface="Arial Unicode MS"/>
              </a:rPr>
              <a:t>WHO QualityRights core training - for all services &amp; all people</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Unicode MS"/>
            </a:endParaRPr>
          </a:p>
        </p:txBody>
      </p:sp>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9898742" y="249572"/>
            <a:ext cx="2293258"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800" b="0" i="0" u="none" strike="noStrike" kern="1200" cap="none" spc="0" normalizeH="0" baseline="0" noProof="0" dirty="0">
                <a:ln>
                  <a:noFill/>
                </a:ln>
                <a:solidFill>
                  <a:srgbClr val="FFFFFE"/>
                </a:solidFill>
                <a:effectLst/>
                <a:uLnTx/>
                <a:uFillTx/>
                <a:latin typeface="Calibri" panose="020F0502020204030204" pitchFamily="34" charset="0"/>
                <a:ea typeface="Arial Unicode MS"/>
                <a:cs typeface="Arial Unicode MS"/>
              </a:rPr>
              <a:t>Course Slides</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Unicode MS"/>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0000"/>
                  </a:solidFill>
                  <a:effectLst/>
                  <a:uLnTx/>
                  <a:uFillTx/>
                  <a:latin typeface="Calibri Light"/>
                  <a:ea typeface="Arial Unicode MS"/>
                  <a:cs typeface="Arial Unicode MS"/>
                </a:rPr>
                <a:t>QualityRights</a:t>
              </a:r>
            </a:p>
          </p:txBody>
        </p:sp>
      </p:grpSp>
      <p:sp>
        <p:nvSpPr>
          <p:cNvPr id="2" name="Text Box 2">
            <a:extLst>
              <a:ext uri="{FF2B5EF4-FFF2-40B4-BE49-F238E27FC236}">
                <a16:creationId xmlns:a16="http://schemas.microsoft.com/office/drawing/2014/main" id="{B158319C-2106-4198-8576-70841645B56D}"/>
              </a:ext>
            </a:extLst>
          </p:cNvPr>
          <p:cNvSpPr txBox="1">
            <a:spLocks noChangeArrowheads="1"/>
          </p:cNvSpPr>
          <p:nvPr/>
        </p:nvSpPr>
        <p:spPr bwMode="auto">
          <a:xfrm>
            <a:off x="11157084" y="3185587"/>
            <a:ext cx="1343025"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FFFFFE"/>
                </a:solidFill>
                <a:effectLst/>
                <a:uLnTx/>
                <a:uFillTx/>
                <a:latin typeface="Calibri" panose="020F0502020204030204" pitchFamily="34" charset="0"/>
                <a:ea typeface="Arial Unicode MS"/>
                <a:cs typeface="Arial Unicode MS"/>
              </a:rPr>
              <a:t>WHO/Heba Farid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Arial Unicode MS"/>
              <a:cs typeface="Arial Unicode MS"/>
            </a:endParaRPr>
          </a:p>
        </p:txBody>
      </p:sp>
    </p:spTree>
    <p:extLst>
      <p:ext uri="{BB962C8B-B14F-4D97-AF65-F5344CB8AC3E}">
        <p14:creationId xmlns:p14="http://schemas.microsoft.com/office/powerpoint/2010/main" val="23474167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04B427A-229C-45B8-BA8E-095B8C36FD56}"/>
              </a:ext>
            </a:extLst>
          </p:cNvPr>
          <p:cNvSpPr/>
          <p:nvPr/>
        </p:nvSpPr>
        <p:spPr>
          <a:xfrm>
            <a:off x="-14515" y="4889499"/>
            <a:ext cx="12206515" cy="19685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err="1">
              <a:ln>
                <a:noFill/>
              </a:ln>
              <a:solidFill>
                <a:srgbClr val="FFFFFF"/>
              </a:solidFill>
              <a:effectLst/>
              <a:uLnTx/>
              <a:uFillTx/>
              <a:latin typeface="Calibri Light"/>
              <a:ea typeface="Arial Unicode MS"/>
              <a:cs typeface="Arial Unicode MS"/>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9675" r="16557" b="25162"/>
          <a:stretch/>
        </p:blipFill>
        <p:spPr bwMode="auto">
          <a:xfrm>
            <a:off x="-14515" y="0"/>
            <a:ext cx="12206515" cy="342900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grpSp>
        <p:nvGrpSpPr>
          <p:cNvPr id="6" name="Group 5">
            <a:extLst>
              <a:ext uri="{FF2B5EF4-FFF2-40B4-BE49-F238E27FC236}">
                <a16:creationId xmlns:a16="http://schemas.microsoft.com/office/drawing/2014/main" id="{E9DFEB22-E759-4243-81A0-025B8746DE33}"/>
              </a:ext>
            </a:extLst>
          </p:cNvPr>
          <p:cNvGrpSpPr/>
          <p:nvPr/>
        </p:nvGrpSpPr>
        <p:grpSpPr>
          <a:xfrm>
            <a:off x="395133" y="2745561"/>
            <a:ext cx="7030682" cy="2143938"/>
            <a:chOff x="438676" y="5057052"/>
            <a:chExt cx="7030682" cy="2029099"/>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7030682" cy="1718602"/>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Arial Unicode MS"/>
                <a:cs typeface="Arial Unicode MS"/>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57052"/>
              <a:ext cx="6963842"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defRPr/>
              </a:pPr>
              <a:endParaRPr kumimoji="0" lang="en-US" altLang="en-US" sz="2400" b="1" i="0" u="none" strike="noStrike" kern="1200" cap="none" spc="0" normalizeH="0" baseline="0" noProof="0" dirty="0">
                <a:ln>
                  <a:noFill/>
                </a:ln>
                <a:solidFill>
                  <a:srgbClr val="FFFFFE"/>
                </a:solidFill>
                <a:effectLst/>
                <a:uLnTx/>
                <a:uFillTx/>
                <a:latin typeface="Calibri" panose="020F0502020204030204" pitchFamily="34" charset="0"/>
                <a:ea typeface="Arial Unicode MS"/>
                <a:cs typeface="Arial Unicode M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800" b="1" i="0" u="none" strike="noStrike" kern="1200" cap="none" spc="0" normalizeH="0" baseline="0" noProof="0" dirty="0">
                  <a:ln>
                    <a:noFill/>
                  </a:ln>
                  <a:solidFill>
                    <a:srgbClr val="FFFFFE"/>
                  </a:solidFill>
                  <a:effectLst/>
                  <a:uLnTx/>
                  <a:uFillTx/>
                  <a:latin typeface="Calibri" panose="020F0502020204030204" pitchFamily="34" charset="0"/>
                  <a:ea typeface="Arial Unicode MS"/>
                  <a:cs typeface="Arial Unicode MS"/>
                </a:rPr>
                <a:t>Mental health, disability and human rights</a:t>
              </a: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59752" y="-344870"/>
            <a:ext cx="2243467" cy="1219200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Light"/>
              <a:ea typeface="Arial Unicode MS"/>
              <a:cs typeface="Arial Unicode MS"/>
            </a:endParaRPr>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1" name="Text Box 12">
            <a:extLst>
              <a:ext uri="{FF2B5EF4-FFF2-40B4-BE49-F238E27FC236}">
                <a16:creationId xmlns:a16="http://schemas.microsoft.com/office/drawing/2014/main" id="{8A889705-826F-4E1D-98E9-D019463EE526}"/>
              </a:ext>
            </a:extLst>
          </p:cNvPr>
          <p:cNvSpPr txBox="1">
            <a:spLocks noChangeArrowheads="1"/>
          </p:cNvSpPr>
          <p:nvPr/>
        </p:nvSpPr>
        <p:spPr bwMode="auto">
          <a:xfrm>
            <a:off x="395133" y="4889499"/>
            <a:ext cx="6814933" cy="544499"/>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3000" b="0" i="0" u="none" strike="noStrike" kern="1200" cap="none" spc="0" normalizeH="0" baseline="0" noProof="0">
                <a:ln>
                  <a:noFill/>
                </a:ln>
                <a:solidFill>
                  <a:srgbClr val="00B0F0"/>
                </a:solidFill>
                <a:effectLst/>
                <a:uLnTx/>
                <a:uFillTx/>
                <a:latin typeface="Calibri" panose="020F0502020204030204" pitchFamily="34" charset="0"/>
                <a:ea typeface="Arial Unicode MS"/>
                <a:cs typeface="Arial Unicode MS"/>
              </a:rPr>
              <a:t>WHO QualityRights </a:t>
            </a:r>
            <a:r>
              <a:rPr kumimoji="0" lang="en-GB" altLang="en-US" sz="3000" b="0" i="0" u="none" strike="noStrike" kern="1200" cap="none" spc="0" normalizeH="0" baseline="0" noProof="0" dirty="0">
                <a:ln>
                  <a:noFill/>
                </a:ln>
                <a:solidFill>
                  <a:srgbClr val="00B0F0"/>
                </a:solidFill>
                <a:effectLst/>
                <a:uLnTx/>
                <a:uFillTx/>
                <a:latin typeface="Calibri" panose="020F0502020204030204" pitchFamily="34" charset="0"/>
                <a:ea typeface="Arial Unicode MS"/>
                <a:cs typeface="Arial Unicode MS"/>
              </a:rPr>
              <a:t>c</a:t>
            </a:r>
            <a:r>
              <a:rPr kumimoji="0" lang="en-GB" altLang="en-US" sz="3000" b="0" i="0" u="none" strike="noStrike" kern="1200" cap="none" spc="0" normalizeH="0" baseline="0" noProof="0">
                <a:ln>
                  <a:noFill/>
                </a:ln>
                <a:solidFill>
                  <a:srgbClr val="00B0F0"/>
                </a:solidFill>
                <a:effectLst/>
                <a:uLnTx/>
                <a:uFillTx/>
                <a:latin typeface="Calibri" panose="020F0502020204030204" pitchFamily="34" charset="0"/>
                <a:ea typeface="Arial Unicode MS"/>
                <a:cs typeface="Arial Unicode MS"/>
              </a:rPr>
              <a:t>ore </a:t>
            </a:r>
            <a:r>
              <a:rPr kumimoji="0" lang="en-GB" altLang="en-US" sz="3000" b="0" i="0" u="none" strike="noStrike" kern="1200" cap="none" spc="0" normalizeH="0" baseline="0" noProof="0" dirty="0">
                <a:ln>
                  <a:noFill/>
                </a:ln>
                <a:solidFill>
                  <a:srgbClr val="00B0F0"/>
                </a:solidFill>
                <a:effectLst/>
                <a:uLnTx/>
                <a:uFillTx/>
                <a:latin typeface="Calibri" panose="020F0502020204030204" pitchFamily="34" charset="0"/>
                <a:ea typeface="Arial Unicode MS"/>
                <a:cs typeface="Arial Unicode MS"/>
              </a:rPr>
              <a:t>training - for all services &amp; all people</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Unicode MS"/>
            </a:endParaRPr>
          </a:p>
        </p:txBody>
      </p:sp>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9898742" y="249572"/>
            <a:ext cx="2293258"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800" b="0" i="0" u="none" strike="noStrike" kern="1200" cap="none" spc="0" normalizeH="0" baseline="0" noProof="0" dirty="0">
                <a:ln>
                  <a:noFill/>
                </a:ln>
                <a:solidFill>
                  <a:srgbClr val="FFFFFE"/>
                </a:solidFill>
                <a:effectLst/>
                <a:uLnTx/>
                <a:uFillTx/>
                <a:latin typeface="Calibri" panose="020F0502020204030204" pitchFamily="34" charset="0"/>
                <a:ea typeface="Arial Unicode MS"/>
                <a:cs typeface="Arial Unicode MS"/>
              </a:rPr>
              <a:t>Course Slides</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Unicode MS"/>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0000"/>
                  </a:solidFill>
                  <a:effectLst/>
                  <a:uLnTx/>
                  <a:uFillTx/>
                  <a:latin typeface="Calibri Light"/>
                  <a:ea typeface="Arial Unicode MS"/>
                  <a:cs typeface="Arial Unicode MS"/>
                </a:rPr>
                <a:t>QualityRights</a:t>
              </a:r>
            </a:p>
          </p:txBody>
        </p:sp>
      </p:grpSp>
      <p:sp>
        <p:nvSpPr>
          <p:cNvPr id="3" name="TextBox 2">
            <a:extLst>
              <a:ext uri="{FF2B5EF4-FFF2-40B4-BE49-F238E27FC236}">
                <a16:creationId xmlns:a16="http://schemas.microsoft.com/office/drawing/2014/main" id="{095C0D1C-CDE9-4E30-9804-6EC273DC1C7C}"/>
              </a:ext>
            </a:extLst>
          </p:cNvPr>
          <p:cNvSpPr txBox="1"/>
          <p:nvPr/>
        </p:nvSpPr>
        <p:spPr>
          <a:xfrm>
            <a:off x="11158598" y="3238229"/>
            <a:ext cx="1142858" cy="17285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Calibri Light"/>
                <a:ea typeface="Arial Unicode MS"/>
                <a:cs typeface="Arial Unicode MS"/>
              </a:rPr>
              <a:t>CBM/Sarah Isaacs</a:t>
            </a:r>
          </a:p>
        </p:txBody>
      </p:sp>
    </p:spTree>
    <p:extLst>
      <p:ext uri="{BB962C8B-B14F-4D97-AF65-F5344CB8AC3E}">
        <p14:creationId xmlns:p14="http://schemas.microsoft.com/office/powerpoint/2010/main" val="24377703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A43F21E-672A-4E6F-8C9D-CA9208894C18}"/>
              </a:ext>
            </a:extLst>
          </p:cNvPr>
          <p:cNvSpPr/>
          <p:nvPr/>
        </p:nvSpPr>
        <p:spPr>
          <a:xfrm>
            <a:off x="-14515" y="4889498"/>
            <a:ext cx="12192001" cy="19833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err="1">
              <a:ln>
                <a:noFill/>
              </a:ln>
              <a:solidFill>
                <a:srgbClr val="FFFFFF"/>
              </a:solidFill>
              <a:effectLst/>
              <a:uLnTx/>
              <a:uFillTx/>
              <a:latin typeface="Calibri Light"/>
              <a:ea typeface="Arial Unicode MS"/>
              <a:cs typeface="Arial Unicode MS"/>
            </a:endParaRPr>
          </a:p>
        </p:txBody>
      </p:sp>
      <p:pic>
        <p:nvPicPr>
          <p:cNvPr id="3" name="Picture 2" descr="A person holding a baby&#10;&#10;Description generated with very high confidence">
            <a:extLst>
              <a:ext uri="{FF2B5EF4-FFF2-40B4-BE49-F238E27FC236}">
                <a16:creationId xmlns:a16="http://schemas.microsoft.com/office/drawing/2014/main" id="{2F7AE93E-363D-441B-B8BE-7628C9ADD7F6}"/>
              </a:ext>
            </a:extLst>
          </p:cNvPr>
          <p:cNvPicPr>
            <a:picLocks noChangeAspect="1"/>
          </p:cNvPicPr>
          <p:nvPr/>
        </p:nvPicPr>
        <p:blipFill rotWithShape="1">
          <a:blip r:embed="rId3">
            <a:extLst>
              <a:ext uri="{28A0092B-C50C-407E-A947-70E740481C1C}">
                <a14:useLocalDpi xmlns:a14="http://schemas.microsoft.com/office/drawing/2010/main" val="0"/>
              </a:ext>
            </a:extLst>
          </a:blip>
          <a:srcRect l="609" t="25504" r="357" b="43903"/>
          <a:stretch/>
        </p:blipFill>
        <p:spPr>
          <a:xfrm>
            <a:off x="0" y="-1"/>
            <a:ext cx="12192000" cy="3454218"/>
          </a:xfrm>
          <a:prstGeom prst="rect">
            <a:avLst/>
          </a:prstGeom>
        </p:spPr>
      </p:pic>
      <p:grpSp>
        <p:nvGrpSpPr>
          <p:cNvPr id="6" name="Group 5">
            <a:extLst>
              <a:ext uri="{FF2B5EF4-FFF2-40B4-BE49-F238E27FC236}">
                <a16:creationId xmlns:a16="http://schemas.microsoft.com/office/drawing/2014/main" id="{E9DFEB22-E759-4243-81A0-025B8746DE33}"/>
              </a:ext>
            </a:extLst>
          </p:cNvPr>
          <p:cNvGrpSpPr/>
          <p:nvPr/>
        </p:nvGrpSpPr>
        <p:grpSpPr>
          <a:xfrm>
            <a:off x="395133" y="2745561"/>
            <a:ext cx="7030682" cy="2143938"/>
            <a:chOff x="438676" y="5057052"/>
            <a:chExt cx="7030682" cy="2029099"/>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5918581" cy="1718602"/>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Arial Unicode MS"/>
                <a:cs typeface="Arial Unicode MS"/>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57052"/>
              <a:ext cx="6963842"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defRPr/>
              </a:pPr>
              <a:endParaRPr kumimoji="0" lang="en-US" altLang="en-US" sz="2400" b="1" i="0" u="none" strike="noStrike" kern="1200" cap="none" spc="0" normalizeH="0" baseline="0" noProof="0" dirty="0">
                <a:ln>
                  <a:noFill/>
                </a:ln>
                <a:solidFill>
                  <a:srgbClr val="FFFFFE"/>
                </a:solidFill>
                <a:effectLst/>
                <a:uLnTx/>
                <a:uFillTx/>
                <a:latin typeface="Calibri" panose="020F0502020204030204" pitchFamily="34" charset="0"/>
                <a:ea typeface="Arial Unicode MS"/>
                <a:cs typeface="Arial Unicode MS"/>
              </a:endParaRPr>
            </a:p>
            <a:p>
              <a:pPr marL="0" marR="0" lvl="0" indent="0" algn="l" defTabSz="228600" rtl="0" eaLnBrk="0" fontAlgn="base" latinLnBrk="0" hangingPunct="0">
                <a:lnSpc>
                  <a:spcPct val="100000"/>
                </a:lnSpc>
                <a:spcBef>
                  <a:spcPct val="0"/>
                </a:spcBef>
                <a:spcAft>
                  <a:spcPct val="0"/>
                </a:spcAft>
                <a:buClrTx/>
                <a:buSzTx/>
                <a:buFontTx/>
                <a:buNone/>
                <a:tabLst/>
                <a:defRPr/>
              </a:pPr>
              <a:r>
                <a:rPr kumimoji="0" lang="en-US" altLang="en-US" sz="4800" b="1" i="0" u="none" strike="noStrike" kern="1200" cap="none" spc="0" normalizeH="0" baseline="0" noProof="0" dirty="0">
                  <a:ln>
                    <a:noFill/>
                  </a:ln>
                  <a:solidFill>
                    <a:srgbClr val="FFFFFE"/>
                  </a:solidFill>
                  <a:effectLst/>
                  <a:uLnTx/>
                  <a:uFillTx/>
                  <a:latin typeface="Calibri" panose="020F0502020204030204" pitchFamily="34" charset="0"/>
                  <a:ea typeface="Arial Unicode MS"/>
                  <a:cs typeface="Arial Unicode MS"/>
                </a:rPr>
                <a:t>Legal capacity and the right to decide</a:t>
              </a: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59752" y="-344870"/>
            <a:ext cx="2243467" cy="1219200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Light"/>
              <a:ea typeface="Arial Unicode MS"/>
              <a:cs typeface="Arial Unicode MS"/>
            </a:endParaRPr>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9898742" y="249572"/>
            <a:ext cx="2293258"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800" b="0" i="0" u="none" strike="noStrike" kern="1200" cap="none" spc="0" normalizeH="0" baseline="0" noProof="0" dirty="0">
                <a:ln>
                  <a:noFill/>
                </a:ln>
                <a:solidFill>
                  <a:srgbClr val="FFFFFE"/>
                </a:solidFill>
                <a:effectLst/>
                <a:uLnTx/>
                <a:uFillTx/>
                <a:latin typeface="Calibri" panose="020F0502020204030204" pitchFamily="34" charset="0"/>
                <a:ea typeface="Arial Unicode MS"/>
                <a:cs typeface="Arial Unicode MS"/>
              </a:rPr>
              <a:t>Course Slides</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Unicode MS"/>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0000"/>
                  </a:solidFill>
                  <a:effectLst/>
                  <a:uLnTx/>
                  <a:uFillTx/>
                  <a:latin typeface="Calibri Light"/>
                  <a:ea typeface="Arial Unicode MS"/>
                  <a:cs typeface="Arial Unicode MS"/>
                </a:rPr>
                <a:t>QualityRights</a:t>
              </a:r>
            </a:p>
          </p:txBody>
        </p:sp>
      </p:grpSp>
      <p:sp>
        <p:nvSpPr>
          <p:cNvPr id="16" name="Text Box 2">
            <a:extLst>
              <a:ext uri="{FF2B5EF4-FFF2-40B4-BE49-F238E27FC236}">
                <a16:creationId xmlns:a16="http://schemas.microsoft.com/office/drawing/2014/main" id="{E6CF4AAF-98E7-4232-AE1D-3708D1E74ADB}"/>
              </a:ext>
            </a:extLst>
          </p:cNvPr>
          <p:cNvSpPr txBox="1">
            <a:spLocks noChangeArrowheads="1"/>
          </p:cNvSpPr>
          <p:nvPr/>
        </p:nvSpPr>
        <p:spPr bwMode="auto">
          <a:xfrm>
            <a:off x="461972" y="4889499"/>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3000" b="0" i="0" u="none" strike="noStrike" kern="1200" cap="none" spc="0" normalizeH="0" baseline="0" noProof="0" dirty="0">
                <a:ln>
                  <a:noFill/>
                </a:ln>
                <a:solidFill>
                  <a:srgbClr val="00B0F0"/>
                </a:solidFill>
                <a:effectLst/>
                <a:uLnTx/>
                <a:uFillTx/>
                <a:latin typeface="Calibri" panose="020F0502020204030204" pitchFamily="34" charset="0"/>
                <a:ea typeface="Arial Unicode MS"/>
                <a:cs typeface="Arial Unicode MS"/>
              </a:rPr>
              <a:t>WHO QualityRights core training:</a:t>
            </a:r>
            <a:r>
              <a:rPr kumimoji="0" lang="en-GB" altLang="en-US" sz="3000" b="0" i="0" u="none" strike="noStrike" kern="1200" cap="none" spc="0" normalizeH="0" baseline="0" noProof="0" dirty="0">
                <a:ln>
                  <a:noFill/>
                </a:ln>
                <a:solidFill>
                  <a:srgbClr val="006386"/>
                </a:solidFill>
                <a:effectLst/>
                <a:uLnTx/>
                <a:uFillTx/>
                <a:latin typeface="Calibri" panose="020F0502020204030204" pitchFamily="34" charset="0"/>
                <a:ea typeface="Arial Unicode MS"/>
                <a:cs typeface="Arial Unicode MS"/>
              </a:rPr>
              <a:t> </a:t>
            </a:r>
            <a:r>
              <a:rPr kumimoji="0" lang="en-GB" altLang="en-US" sz="3000" b="0" i="0" u="none" strike="noStrike" kern="1200" cap="none" spc="0" normalizeH="0" baseline="0" noProof="0" dirty="0">
                <a:ln>
                  <a:noFill/>
                </a:ln>
                <a:solidFill>
                  <a:srgbClr val="00B0F0"/>
                </a:solidFill>
                <a:effectLst/>
                <a:uLnTx/>
                <a:uFillTx/>
                <a:latin typeface="Calibri" panose="020F0502020204030204" pitchFamily="34" charset="0"/>
                <a:ea typeface="Arial Unicode MS"/>
                <a:cs typeface="Arial Unicode MS"/>
              </a:rPr>
              <a:t>mental health &amp; social services</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Unicode MS"/>
            </a:endParaRPr>
          </a:p>
        </p:txBody>
      </p:sp>
      <p:sp>
        <p:nvSpPr>
          <p:cNvPr id="4" name="Text Box 2">
            <a:extLst>
              <a:ext uri="{FF2B5EF4-FFF2-40B4-BE49-F238E27FC236}">
                <a16:creationId xmlns:a16="http://schemas.microsoft.com/office/drawing/2014/main" id="{E5BD192D-5240-4527-9E86-E73D0670EDC7}"/>
              </a:ext>
            </a:extLst>
          </p:cNvPr>
          <p:cNvSpPr txBox="1">
            <a:spLocks noChangeArrowheads="1"/>
          </p:cNvSpPr>
          <p:nvPr/>
        </p:nvSpPr>
        <p:spPr bwMode="auto">
          <a:xfrm>
            <a:off x="11157084" y="3174107"/>
            <a:ext cx="1343025"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FFFFFE"/>
                </a:solidFill>
                <a:effectLst/>
                <a:uLnTx/>
                <a:uFillTx/>
                <a:latin typeface="Calibri" panose="020F0502020204030204" pitchFamily="34" charset="0"/>
                <a:ea typeface="Arial Unicode MS"/>
                <a:cs typeface="Arial Unicode MS"/>
              </a:rPr>
              <a:t>WHO/Harold Ruiz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Arial Unicode MS"/>
              <a:cs typeface="Arial Unicode MS"/>
            </a:endParaRPr>
          </a:p>
        </p:txBody>
      </p:sp>
    </p:spTree>
    <p:extLst>
      <p:ext uri="{BB962C8B-B14F-4D97-AF65-F5344CB8AC3E}">
        <p14:creationId xmlns:p14="http://schemas.microsoft.com/office/powerpoint/2010/main" val="29619561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2CD1F2-D650-4424-A62C-57538559B475}"/>
              </a:ext>
            </a:extLst>
          </p:cNvPr>
          <p:cNvSpPr/>
          <p:nvPr/>
        </p:nvSpPr>
        <p:spPr>
          <a:xfrm>
            <a:off x="14514" y="5002306"/>
            <a:ext cx="12192000" cy="18705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err="1">
              <a:ln>
                <a:noFill/>
              </a:ln>
              <a:solidFill>
                <a:srgbClr val="FFFFFF"/>
              </a:solidFill>
              <a:effectLst/>
              <a:uLnTx/>
              <a:uFillTx/>
              <a:latin typeface="Calibri Light"/>
              <a:ea typeface="Arial Unicode MS"/>
              <a:cs typeface="Arial Unicode MS"/>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8" t="16821" r="-268" b="40992"/>
          <a:stretch/>
        </p:blipFill>
        <p:spPr bwMode="auto">
          <a:xfrm>
            <a:off x="-14514" y="0"/>
            <a:ext cx="12221028" cy="342900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grpSp>
        <p:nvGrpSpPr>
          <p:cNvPr id="6" name="Group 5">
            <a:extLst>
              <a:ext uri="{FF2B5EF4-FFF2-40B4-BE49-F238E27FC236}">
                <a16:creationId xmlns:a16="http://schemas.microsoft.com/office/drawing/2014/main" id="{E9DFEB22-E759-4243-81A0-025B8746DE33}"/>
              </a:ext>
            </a:extLst>
          </p:cNvPr>
          <p:cNvGrpSpPr/>
          <p:nvPr/>
        </p:nvGrpSpPr>
        <p:grpSpPr>
          <a:xfrm>
            <a:off x="395133" y="2745561"/>
            <a:ext cx="7030682" cy="2143938"/>
            <a:chOff x="438676" y="5057052"/>
            <a:chExt cx="7030682" cy="2029099"/>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6426581" cy="1718602"/>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Arial Unicode MS"/>
                <a:cs typeface="Arial Unicode MS"/>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57052"/>
              <a:ext cx="6963842"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defRPr/>
              </a:pPr>
              <a:endParaRPr kumimoji="0" lang="en-US" altLang="en-US" sz="2400" b="1" i="0" u="none" strike="noStrike" kern="1200" cap="none" spc="0" normalizeH="0" baseline="0" noProof="0" dirty="0">
                <a:ln>
                  <a:noFill/>
                </a:ln>
                <a:solidFill>
                  <a:srgbClr val="FFFFFE"/>
                </a:solidFill>
                <a:effectLst/>
                <a:uLnTx/>
                <a:uFillTx/>
                <a:latin typeface="Calibri" panose="020F0502020204030204" pitchFamily="34" charset="0"/>
                <a:ea typeface="Arial Unicode MS"/>
                <a:cs typeface="Arial Unicode M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800" b="1" i="0" u="none" strike="noStrike" kern="1200" cap="none" spc="0" normalizeH="0" baseline="0" noProof="0" dirty="0">
                  <a:ln>
                    <a:noFill/>
                  </a:ln>
                  <a:solidFill>
                    <a:srgbClr val="FFFFFE"/>
                  </a:solidFill>
                  <a:effectLst/>
                  <a:uLnTx/>
                  <a:uFillTx/>
                  <a:latin typeface="Calibri" panose="020F0502020204030204" pitchFamily="34" charset="0"/>
                  <a:ea typeface="Arial Unicode MS"/>
                  <a:cs typeface="Arial Unicode MS"/>
                </a:rPr>
                <a:t>Freedom from coercion, violence and abuse</a:t>
              </a: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74267" y="-359385"/>
            <a:ext cx="2243467" cy="1222103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Light"/>
              <a:ea typeface="Arial Unicode MS"/>
              <a:cs typeface="Arial Unicode MS"/>
            </a:endParaRPr>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9898742" y="249572"/>
            <a:ext cx="2293258"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800" b="0" i="0" u="none" strike="noStrike" kern="1200" cap="none" spc="0" normalizeH="0" baseline="0" noProof="0" dirty="0">
                <a:ln>
                  <a:noFill/>
                </a:ln>
                <a:solidFill>
                  <a:srgbClr val="FFFFFE"/>
                </a:solidFill>
                <a:effectLst/>
                <a:uLnTx/>
                <a:uFillTx/>
                <a:latin typeface="Calibri" panose="020F0502020204030204" pitchFamily="34" charset="0"/>
                <a:ea typeface="Arial Unicode MS"/>
                <a:cs typeface="Arial Unicode MS"/>
              </a:rPr>
              <a:t>Course Slides</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Unicode MS"/>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0000"/>
                  </a:solidFill>
                  <a:effectLst/>
                  <a:uLnTx/>
                  <a:uFillTx/>
                  <a:latin typeface="Calibri Light"/>
                  <a:ea typeface="Arial Unicode MS"/>
                  <a:cs typeface="Arial Unicode MS"/>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889499"/>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3000" b="0" i="0" u="none" strike="noStrike" kern="1200" cap="none" spc="0" normalizeH="0" baseline="0" noProof="0">
                <a:ln>
                  <a:noFill/>
                </a:ln>
                <a:solidFill>
                  <a:srgbClr val="00B0F0"/>
                </a:solidFill>
                <a:effectLst/>
                <a:uLnTx/>
                <a:uFillTx/>
                <a:latin typeface="Calibri" panose="020F0502020204030204" pitchFamily="34" charset="0"/>
                <a:ea typeface="Arial Unicode MS"/>
                <a:cs typeface="Arial Unicode MS"/>
              </a:rPr>
              <a:t>WHO QualityRights </a:t>
            </a:r>
            <a:r>
              <a:rPr kumimoji="0" lang="en-GB" altLang="en-US" sz="3000" b="0" i="0" u="none" strike="noStrike" kern="1200" cap="none" spc="0" normalizeH="0" baseline="0" noProof="0" dirty="0">
                <a:ln>
                  <a:noFill/>
                </a:ln>
                <a:solidFill>
                  <a:srgbClr val="00B0F0"/>
                </a:solidFill>
                <a:effectLst/>
                <a:uLnTx/>
                <a:uFillTx/>
                <a:latin typeface="Calibri" panose="020F0502020204030204" pitchFamily="34" charset="0"/>
                <a:ea typeface="Arial Unicode MS"/>
                <a:cs typeface="Arial Unicode MS"/>
              </a:rPr>
              <a:t>c</a:t>
            </a:r>
            <a:r>
              <a:rPr kumimoji="0" lang="en-GB" altLang="en-US" sz="3000" b="0" i="0" u="none" strike="noStrike" kern="1200" cap="none" spc="0" normalizeH="0" baseline="0" noProof="0">
                <a:ln>
                  <a:noFill/>
                </a:ln>
                <a:solidFill>
                  <a:srgbClr val="00B0F0"/>
                </a:solidFill>
                <a:effectLst/>
                <a:uLnTx/>
                <a:uFillTx/>
                <a:latin typeface="Calibri" panose="020F0502020204030204" pitchFamily="34" charset="0"/>
                <a:ea typeface="Arial Unicode MS"/>
                <a:cs typeface="Arial Unicode MS"/>
              </a:rPr>
              <a:t>ore </a:t>
            </a:r>
            <a:r>
              <a:rPr kumimoji="0" lang="en-GB" altLang="en-US" sz="3000" b="0" i="0" u="none" strike="noStrike" kern="1200" cap="none" spc="0" normalizeH="0" baseline="0" noProof="0" dirty="0">
                <a:ln>
                  <a:noFill/>
                </a:ln>
                <a:solidFill>
                  <a:srgbClr val="00B0F0"/>
                </a:solidFill>
                <a:effectLst/>
                <a:uLnTx/>
                <a:uFillTx/>
                <a:latin typeface="Calibri" panose="020F0502020204030204" pitchFamily="34" charset="0"/>
                <a:ea typeface="Arial Unicode MS"/>
                <a:cs typeface="Arial Unicode MS"/>
              </a:rPr>
              <a:t>training:</a:t>
            </a:r>
            <a:r>
              <a:rPr kumimoji="0" lang="en-GB" altLang="en-US" sz="3000" b="0" i="0" u="none" strike="noStrike" kern="1200" cap="none" spc="0" normalizeH="0" baseline="0" noProof="0" dirty="0">
                <a:ln>
                  <a:noFill/>
                </a:ln>
                <a:solidFill>
                  <a:srgbClr val="006386"/>
                </a:solidFill>
                <a:effectLst/>
                <a:uLnTx/>
                <a:uFillTx/>
                <a:latin typeface="Calibri" panose="020F0502020204030204" pitchFamily="34" charset="0"/>
                <a:ea typeface="Arial Unicode MS"/>
                <a:cs typeface="Arial Unicode MS"/>
              </a:rPr>
              <a:t> </a:t>
            </a:r>
            <a:r>
              <a:rPr kumimoji="0" lang="en-GB" altLang="en-US" sz="3000" b="0" i="0" u="none" strike="noStrike" kern="1200" cap="none" spc="0" normalizeH="0" baseline="0" noProof="0" dirty="0">
                <a:ln>
                  <a:noFill/>
                </a:ln>
                <a:solidFill>
                  <a:srgbClr val="00B0F0"/>
                </a:solidFill>
                <a:effectLst/>
                <a:uLnTx/>
                <a:uFillTx/>
                <a:latin typeface="Calibri" panose="020F0502020204030204" pitchFamily="34" charset="0"/>
                <a:ea typeface="Arial Unicode MS"/>
                <a:cs typeface="Arial Unicode MS"/>
              </a:rPr>
              <a:t>mental health &amp; social services</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Unicode MS"/>
            </a:endParaRPr>
          </a:p>
        </p:txBody>
      </p:sp>
      <p:sp>
        <p:nvSpPr>
          <p:cNvPr id="4" name="Text Box 2">
            <a:extLst>
              <a:ext uri="{FF2B5EF4-FFF2-40B4-BE49-F238E27FC236}">
                <a16:creationId xmlns:a16="http://schemas.microsoft.com/office/drawing/2014/main" id="{D7E62671-12F7-4AB4-B452-72A81A898E00}"/>
              </a:ext>
            </a:extLst>
          </p:cNvPr>
          <p:cNvSpPr txBox="1">
            <a:spLocks noChangeArrowheads="1"/>
          </p:cNvSpPr>
          <p:nvPr/>
        </p:nvSpPr>
        <p:spPr bwMode="auto">
          <a:xfrm>
            <a:off x="10931638" y="3178174"/>
            <a:ext cx="1509712"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FFFFFE"/>
                </a:solidFill>
                <a:effectLst/>
                <a:uLnTx/>
                <a:uFillTx/>
                <a:latin typeface="Calibri" panose="020F0502020204030204" pitchFamily="34" charset="0"/>
                <a:ea typeface="Arial Unicode MS"/>
                <a:cs typeface="Arial Unicode MS"/>
              </a:rPr>
              <a:t>CBM/Cathy </a:t>
            </a:r>
            <a:r>
              <a:rPr kumimoji="0" lang="en-US" altLang="en-US" sz="1000" b="0" i="0" u="none" strike="noStrike" kern="1200" cap="none" spc="0" normalizeH="0" baseline="0" noProof="0" dirty="0" err="1">
                <a:ln>
                  <a:noFill/>
                </a:ln>
                <a:solidFill>
                  <a:srgbClr val="FFFFFE"/>
                </a:solidFill>
                <a:effectLst/>
                <a:uLnTx/>
                <a:uFillTx/>
                <a:latin typeface="Calibri" panose="020F0502020204030204" pitchFamily="34" charset="0"/>
                <a:ea typeface="Arial Unicode MS"/>
                <a:cs typeface="Arial Unicode MS"/>
              </a:rPr>
              <a:t>Greenblat</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Unicode MS"/>
            </a:endParaRPr>
          </a:p>
        </p:txBody>
      </p:sp>
    </p:spTree>
    <p:extLst>
      <p:ext uri="{BB962C8B-B14F-4D97-AF65-F5344CB8AC3E}">
        <p14:creationId xmlns:p14="http://schemas.microsoft.com/office/powerpoint/2010/main" val="13623508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861513" y="1712997"/>
            <a:ext cx="3168352" cy="3970318"/>
          </a:xfrm>
          <a:prstGeom prst="rect">
            <a:avLst/>
          </a:prstGeom>
          <a:noFill/>
        </p:spPr>
        <p:txBody>
          <a:bodyPr wrap="square" rtlCol="0">
            <a:spAutoFit/>
          </a:bodyPr>
          <a:lstStyle/>
          <a:p>
            <a:pPr marL="171450" indent="-171450" defTabSz="457200">
              <a:buFont typeface="Arial" panose="020B0604020202020204" pitchFamily="34" charset="0"/>
              <a:buChar char="•"/>
            </a:pPr>
            <a:r>
              <a:rPr lang="en-GB" sz="1800" b="1" dirty="0">
                <a:solidFill>
                  <a:prstClr val="white"/>
                </a:solidFill>
                <a:latin typeface="Calibri"/>
              </a:rPr>
              <a:t>E-training version of 6 core human rights modules</a:t>
            </a:r>
          </a:p>
          <a:p>
            <a:pPr marL="171450" indent="-171450" defTabSz="457200">
              <a:buFont typeface="Arial" panose="020B0604020202020204" pitchFamily="34" charset="0"/>
              <a:buChar char="•"/>
            </a:pPr>
            <a:endParaRPr lang="en-GB" sz="1800" b="1" dirty="0">
              <a:solidFill>
                <a:prstClr val="white"/>
              </a:solidFill>
              <a:latin typeface="Calibri"/>
            </a:endParaRPr>
          </a:p>
          <a:p>
            <a:pPr marL="171450" indent="-171450" defTabSz="457200">
              <a:buFont typeface="Arial" panose="020B0604020202020204" pitchFamily="34" charset="0"/>
              <a:buChar char="•"/>
            </a:pPr>
            <a:r>
              <a:rPr lang="en-GB" sz="1800" b="1" dirty="0">
                <a:solidFill>
                  <a:prstClr val="white"/>
                </a:solidFill>
                <a:latin typeface="Calibri"/>
              </a:rPr>
              <a:t>Reach, engage and train more people</a:t>
            </a:r>
          </a:p>
          <a:p>
            <a:pPr marL="171450" indent="-171450" defTabSz="457200">
              <a:buFont typeface="Arial" panose="020B0604020202020204" pitchFamily="34" charset="0"/>
              <a:buChar char="•"/>
            </a:pPr>
            <a:endParaRPr lang="en-GB" sz="1800" b="1" dirty="0">
              <a:solidFill>
                <a:prstClr val="white"/>
              </a:solidFill>
              <a:latin typeface="Calibri"/>
            </a:endParaRPr>
          </a:p>
          <a:p>
            <a:pPr marL="171450" indent="-171450" defTabSz="457200">
              <a:buFont typeface="Arial" panose="020B0604020202020204" pitchFamily="34" charset="0"/>
              <a:buChar char="•"/>
            </a:pPr>
            <a:r>
              <a:rPr lang="en-GB" sz="1800" b="1" dirty="0">
                <a:solidFill>
                  <a:prstClr val="white"/>
                </a:solidFill>
                <a:latin typeface="Calibri"/>
              </a:rPr>
              <a:t>Identify champions and build stronger movement  to advocate for human rights &amp; quality services </a:t>
            </a:r>
          </a:p>
          <a:p>
            <a:pPr marL="171450" indent="-171450" defTabSz="457200">
              <a:buFont typeface="Arial" panose="020B0604020202020204" pitchFamily="34" charset="0"/>
              <a:buChar char="•"/>
            </a:pPr>
            <a:endParaRPr lang="en-GB" sz="1800" b="1" dirty="0">
              <a:solidFill>
                <a:prstClr val="white"/>
              </a:solidFill>
              <a:latin typeface="Calibri"/>
            </a:endParaRPr>
          </a:p>
          <a:p>
            <a:pPr marL="171450" indent="-171450" defTabSz="457200">
              <a:buFont typeface="Arial" panose="020B0604020202020204" pitchFamily="34" charset="0"/>
              <a:buChar char="•"/>
            </a:pPr>
            <a:r>
              <a:rPr lang="en-GB" sz="1800" b="1" dirty="0">
                <a:solidFill>
                  <a:prstClr val="white"/>
                </a:solidFill>
                <a:latin typeface="Calibri"/>
              </a:rPr>
              <a:t>Change in  cultural norms and practices</a:t>
            </a:r>
          </a:p>
          <a:p>
            <a:pPr defTabSz="457200"/>
            <a:r>
              <a:rPr lang="en-GB" sz="1800" b="1" dirty="0">
                <a:solidFill>
                  <a:prstClr val="white"/>
                </a:solidFill>
                <a:latin typeface="Calibri"/>
              </a:rPr>
              <a:t> </a:t>
            </a:r>
          </a:p>
        </p:txBody>
      </p:sp>
      <p:pic>
        <p:nvPicPr>
          <p:cNvPr id="8" name="Picture 7" descr="Graphical user interface, website&#10;&#10;Description automatically generated">
            <a:extLst>
              <a:ext uri="{FF2B5EF4-FFF2-40B4-BE49-F238E27FC236}">
                <a16:creationId xmlns:a16="http://schemas.microsoft.com/office/drawing/2014/main" id="{EC468849-5CE1-6E42-BE33-46238580F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078929" cy="6858000"/>
          </a:xfrm>
          <a:prstGeom prst="rect">
            <a:avLst/>
          </a:prstGeom>
        </p:spPr>
      </p:pic>
    </p:spTree>
    <p:extLst>
      <p:ext uri="{BB962C8B-B14F-4D97-AF65-F5344CB8AC3E}">
        <p14:creationId xmlns:p14="http://schemas.microsoft.com/office/powerpoint/2010/main" val="40990107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7">
            <a:extLst>
              <a:ext uri="{FF2B5EF4-FFF2-40B4-BE49-F238E27FC236}">
                <a16:creationId xmlns:a16="http://schemas.microsoft.com/office/drawing/2014/main" id="{BD469AF2-C7CA-4BA3-B0D3-31881150C7FD}"/>
              </a:ext>
            </a:extLst>
          </p:cNvPr>
          <p:cNvSpPr txBox="1">
            <a:spLocks/>
          </p:cNvSpPr>
          <p:nvPr/>
        </p:nvSpPr>
        <p:spPr>
          <a:xfrm>
            <a:off x="2481416" y="4931"/>
            <a:ext cx="7582427" cy="1152201"/>
          </a:xfrm>
          <a:prstGeom prst="rect">
            <a:avLst/>
          </a:prstGeom>
          <a:ln>
            <a:noFill/>
          </a:ln>
        </p:spPr>
        <p:txBody>
          <a:bodyPr>
            <a:noAutofit/>
          </a:bodyPr>
          <a:lstStyle>
            <a:lvl1pPr algn="l" defTabSz="897016" rtl="0" eaLnBrk="1" fontAlgn="base" hangingPunct="1">
              <a:spcBef>
                <a:spcPct val="0"/>
              </a:spcBef>
              <a:spcAft>
                <a:spcPct val="0"/>
              </a:spcAft>
              <a:tabLst>
                <a:tab pos="270383" algn="l"/>
              </a:tabLst>
              <a:defRPr sz="2000" b="0" baseline="0">
                <a:solidFill>
                  <a:schemeClr val="accent4"/>
                </a:solidFill>
                <a:latin typeface="+mj-lt"/>
                <a:ea typeface="+mj-ea"/>
                <a:cs typeface="+mj-cs"/>
              </a:defRPr>
            </a:lvl1pPr>
            <a:lvl2pPr algn="l" defTabSz="897016" rtl="0" eaLnBrk="1" fontAlgn="base" hangingPunct="1">
              <a:spcBef>
                <a:spcPct val="0"/>
              </a:spcBef>
              <a:spcAft>
                <a:spcPct val="0"/>
              </a:spcAft>
              <a:defRPr sz="1900" b="1">
                <a:solidFill>
                  <a:schemeClr val="tx2"/>
                </a:solidFill>
                <a:latin typeface="Arial" charset="0"/>
              </a:defRPr>
            </a:lvl2pPr>
            <a:lvl3pPr algn="l" defTabSz="897016" rtl="0" eaLnBrk="1" fontAlgn="base" hangingPunct="1">
              <a:spcBef>
                <a:spcPct val="0"/>
              </a:spcBef>
              <a:spcAft>
                <a:spcPct val="0"/>
              </a:spcAft>
              <a:defRPr sz="1900" b="1">
                <a:solidFill>
                  <a:schemeClr val="tx2"/>
                </a:solidFill>
                <a:latin typeface="Arial" charset="0"/>
              </a:defRPr>
            </a:lvl3pPr>
            <a:lvl4pPr algn="l" defTabSz="897016" rtl="0" eaLnBrk="1" fontAlgn="base" hangingPunct="1">
              <a:spcBef>
                <a:spcPct val="0"/>
              </a:spcBef>
              <a:spcAft>
                <a:spcPct val="0"/>
              </a:spcAft>
              <a:defRPr sz="1900" b="1">
                <a:solidFill>
                  <a:schemeClr val="tx2"/>
                </a:solidFill>
                <a:latin typeface="Arial" charset="0"/>
              </a:defRPr>
            </a:lvl4pPr>
            <a:lvl5pPr algn="l" defTabSz="897016" rtl="0" eaLnBrk="1" fontAlgn="base" hangingPunct="1">
              <a:spcBef>
                <a:spcPct val="0"/>
              </a:spcBef>
              <a:spcAft>
                <a:spcPct val="0"/>
              </a:spcAft>
              <a:defRPr sz="1900" b="1">
                <a:solidFill>
                  <a:schemeClr val="tx2"/>
                </a:solidFill>
                <a:latin typeface="Arial" charset="0"/>
              </a:defRPr>
            </a:lvl5pPr>
            <a:lvl6pPr marL="458000" algn="l" defTabSz="897016" rtl="0" eaLnBrk="1" fontAlgn="base" hangingPunct="1">
              <a:spcBef>
                <a:spcPct val="0"/>
              </a:spcBef>
              <a:spcAft>
                <a:spcPct val="0"/>
              </a:spcAft>
              <a:defRPr sz="1900" b="1">
                <a:solidFill>
                  <a:schemeClr val="tx2"/>
                </a:solidFill>
                <a:latin typeface="Arial" charset="0"/>
              </a:defRPr>
            </a:lvl6pPr>
            <a:lvl7pPr marL="916095" algn="l" defTabSz="897016" rtl="0" eaLnBrk="1" fontAlgn="base" hangingPunct="1">
              <a:spcBef>
                <a:spcPct val="0"/>
              </a:spcBef>
              <a:spcAft>
                <a:spcPct val="0"/>
              </a:spcAft>
              <a:defRPr sz="1900" b="1">
                <a:solidFill>
                  <a:schemeClr val="tx2"/>
                </a:solidFill>
                <a:latin typeface="Arial" charset="0"/>
              </a:defRPr>
            </a:lvl7pPr>
            <a:lvl8pPr marL="1374154" algn="l" defTabSz="897016" rtl="0" eaLnBrk="1" fontAlgn="base" hangingPunct="1">
              <a:spcBef>
                <a:spcPct val="0"/>
              </a:spcBef>
              <a:spcAft>
                <a:spcPct val="0"/>
              </a:spcAft>
              <a:defRPr sz="1900" b="1">
                <a:solidFill>
                  <a:schemeClr val="tx2"/>
                </a:solidFill>
                <a:latin typeface="Arial" charset="0"/>
              </a:defRPr>
            </a:lvl8pPr>
            <a:lvl9pPr marL="1832209" algn="l" defTabSz="897016" rtl="0" eaLnBrk="1" fontAlgn="base" hangingPunct="1">
              <a:spcBef>
                <a:spcPct val="0"/>
              </a:spcBef>
              <a:spcAft>
                <a:spcPct val="0"/>
              </a:spcAft>
              <a:defRPr sz="1900" b="1">
                <a:solidFill>
                  <a:schemeClr val="tx2"/>
                </a:solidFill>
                <a:latin typeface="Arial" charset="0"/>
              </a:defRPr>
            </a:lvl9pPr>
          </a:lstStyle>
          <a:p>
            <a:pPr algn="ctr"/>
            <a:r>
              <a:rPr lang="en-GB" sz="4000" kern="0" dirty="0">
                <a:solidFill>
                  <a:schemeClr val="bg1"/>
                </a:solidFill>
                <a:latin typeface="+mn-lt"/>
                <a:ea typeface="+mn-ea"/>
                <a:cs typeface="+mn-cs"/>
              </a:rPr>
              <a:t>Capacity building on human rights </a:t>
            </a:r>
          </a:p>
          <a:p>
            <a:pPr algn="ctr"/>
            <a:r>
              <a:rPr lang="en-GB" sz="4000" kern="0" dirty="0">
                <a:solidFill>
                  <a:schemeClr val="bg1"/>
                </a:solidFill>
                <a:latin typeface="+mn-lt"/>
                <a:ea typeface="+mn-ea"/>
                <a:cs typeface="+mn-cs"/>
              </a:rPr>
              <a:t>in mental health</a:t>
            </a:r>
            <a:endParaRPr lang="en-US" sz="4000" kern="0" dirty="0">
              <a:solidFill>
                <a:schemeClr val="bg1"/>
              </a:solidFill>
              <a:latin typeface="+mn-lt"/>
              <a:ea typeface="+mn-ea"/>
              <a:cs typeface="+mn-cs"/>
            </a:endParaRPr>
          </a:p>
        </p:txBody>
      </p:sp>
      <p:sp>
        <p:nvSpPr>
          <p:cNvPr id="6" name="Rectangle 7">
            <a:extLst>
              <a:ext uri="{FF2B5EF4-FFF2-40B4-BE49-F238E27FC236}">
                <a16:creationId xmlns:a16="http://schemas.microsoft.com/office/drawing/2014/main" id="{875A3130-6F50-EC40-91DE-7E4F98A1981A}"/>
              </a:ext>
            </a:extLst>
          </p:cNvPr>
          <p:cNvSpPr>
            <a:spLocks noChangeArrowheads="1"/>
          </p:cNvSpPr>
          <p:nvPr/>
        </p:nvSpPr>
        <p:spPr bwMode="auto">
          <a:xfrm>
            <a:off x="1506000" y="169771"/>
            <a:ext cx="9180000" cy="1260000"/>
          </a:xfrm>
          <a:prstGeom prst="rect">
            <a:avLst/>
          </a:prstGeom>
          <a:solidFill>
            <a:srgbClr val="4472C4"/>
          </a:solidFill>
          <a:ln>
            <a:noFill/>
          </a:ln>
          <a:effectLst>
            <a:outerShdw blurRad="50800" dist="76200" dir="5400000" algn="ctr" rotWithShape="0">
              <a:schemeClr val="tx1">
                <a:alpha val="40000"/>
              </a:schemeClr>
            </a:outerShdw>
          </a:effectLst>
        </p:spPr>
        <p:txBody>
          <a:bodyPr wrap="square" tIns="108000" rIns="720000" bIns="216000" anchor="ctr" anchorCtr="0">
            <a:noAutofit/>
          </a:bodyPr>
          <a:lstStyle>
            <a:lvl1pPr>
              <a:spcBef>
                <a:spcPct val="20000"/>
              </a:spcBef>
              <a:buChar char="•"/>
              <a:defRPr sz="3200">
                <a:solidFill>
                  <a:schemeClr val="tx1"/>
                </a:solidFill>
                <a:latin typeface="Arial" charset="0"/>
                <a:cs typeface="Arial" charset="0"/>
              </a:defRPr>
            </a:lvl1pPr>
            <a:lvl2pPr marL="742950" indent="-285750">
              <a:spcBef>
                <a:spcPct val="20000"/>
              </a:spcBef>
              <a:buChar char="–"/>
              <a:defRPr sz="2800">
                <a:solidFill>
                  <a:schemeClr val="tx1"/>
                </a:solidFill>
                <a:latin typeface="Arial" charset="0"/>
                <a:cs typeface="Arial" charset="0"/>
              </a:defRPr>
            </a:lvl2pPr>
            <a:lvl3pPr marL="1143000" indent="-228600">
              <a:spcBef>
                <a:spcPct val="20000"/>
              </a:spcBef>
              <a:buChar char="•"/>
              <a:defRPr sz="2400">
                <a:solidFill>
                  <a:schemeClr val="tx1"/>
                </a:solidFill>
                <a:latin typeface="Arial" charset="0"/>
                <a:cs typeface="Arial" charset="0"/>
              </a:defRPr>
            </a:lvl3pPr>
            <a:lvl4pPr marL="1600200" indent="-228600">
              <a:spcBef>
                <a:spcPct val="20000"/>
              </a:spcBef>
              <a:buChar char="–"/>
              <a:defRPr sz="2000">
                <a:solidFill>
                  <a:schemeClr val="tx1"/>
                </a:solidFill>
                <a:latin typeface="Arial" charset="0"/>
                <a:cs typeface="Arial" charset="0"/>
              </a:defRPr>
            </a:lvl4pPr>
            <a:lvl5pPr marL="2057400" indent="-22860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algn="ctr">
              <a:spcBef>
                <a:spcPct val="0"/>
              </a:spcBef>
              <a:buFontTx/>
              <a:buNone/>
            </a:pPr>
            <a:r>
              <a:rPr lang="en-US" altLang="en-US" sz="2800" b="1" dirty="0">
                <a:solidFill>
                  <a:schemeClr val="bg1"/>
                </a:solidFill>
                <a:latin typeface="Ebrima"/>
                <a:ea typeface="+mj-ea"/>
                <a:cs typeface="+mj-cs"/>
              </a:rPr>
              <a:t>QualityRights e-training</a:t>
            </a:r>
          </a:p>
        </p:txBody>
      </p:sp>
      <p:pic>
        <p:nvPicPr>
          <p:cNvPr id="7" name="Picture 3">
            <a:extLst>
              <a:ext uri="{FF2B5EF4-FFF2-40B4-BE49-F238E27FC236}">
                <a16:creationId xmlns:a16="http://schemas.microsoft.com/office/drawing/2014/main" id="{830CCECF-C211-BC4C-8EDE-20D5759F272B}"/>
              </a:ext>
            </a:extLst>
          </p:cNvPr>
          <p:cNvPicPr>
            <a:picLocks noChangeAspect="1" noChangeArrowheads="1"/>
          </p:cNvPicPr>
          <p:nvPr/>
        </p:nvPicPr>
        <p:blipFill>
          <a:blip r:embed="rId3"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1524000" y="0"/>
            <a:ext cx="1302888" cy="107640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pic>
        <p:nvPicPr>
          <p:cNvPr id="13" name="Picture 2">
            <a:extLst>
              <a:ext uri="{FF2B5EF4-FFF2-40B4-BE49-F238E27FC236}">
                <a16:creationId xmlns:a16="http://schemas.microsoft.com/office/drawing/2014/main" id="{03632C24-68EC-0048-8CA5-10D817774C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10443" y="1629826"/>
            <a:ext cx="8153400" cy="4999239"/>
          </a:xfrm>
          <a:prstGeom prst="rect">
            <a:avLst/>
          </a:prstGeom>
          <a:noFill/>
          <a:ln>
            <a:no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sp>
        <p:nvSpPr>
          <p:cNvPr id="15" name="TextBox 1">
            <a:extLst>
              <a:ext uri="{FF2B5EF4-FFF2-40B4-BE49-F238E27FC236}">
                <a16:creationId xmlns:a16="http://schemas.microsoft.com/office/drawing/2014/main" id="{61173A32-4A28-4847-9415-7D225F9015BF}"/>
              </a:ext>
            </a:extLst>
          </p:cNvPr>
          <p:cNvSpPr txBox="1"/>
          <p:nvPr/>
        </p:nvSpPr>
        <p:spPr>
          <a:xfrm>
            <a:off x="2307771" y="2029936"/>
            <a:ext cx="2550846" cy="3354765"/>
          </a:xfrm>
          <a:prstGeom prst="rect">
            <a:avLst/>
          </a:prstGeom>
          <a:noFill/>
        </p:spPr>
        <p:txBody>
          <a:bodyPr wrap="square" rtlCol="0">
            <a:spAutoFit/>
          </a:bodyPr>
          <a:lstStyle/>
          <a:p>
            <a:pPr defTabSz="457200"/>
            <a:endParaRPr lang="fr-CH" sz="1600" b="1" dirty="0">
              <a:solidFill>
                <a:prstClr val="white"/>
              </a:solidFill>
              <a:latin typeface="Ebrima"/>
            </a:endParaRPr>
          </a:p>
          <a:p>
            <a:pPr marL="285750" indent="-285750" defTabSz="457200">
              <a:buFont typeface="Arial" panose="020B0604020202020204" pitchFamily="34" charset="0"/>
              <a:buChar char="•"/>
            </a:pPr>
            <a:r>
              <a:rPr lang="en-US" sz="1400" b="1" dirty="0">
                <a:solidFill>
                  <a:prstClr val="white"/>
                </a:solidFill>
                <a:latin typeface="Ebrima"/>
              </a:rPr>
              <a:t>Changing mindsets of whole communities, on massive scale</a:t>
            </a:r>
          </a:p>
          <a:p>
            <a:pPr marL="285750" indent="-285750" defTabSz="457200">
              <a:buFont typeface="Arial" panose="020B0604020202020204" pitchFamily="34" charset="0"/>
              <a:buChar char="•"/>
            </a:pPr>
            <a:endParaRPr lang="en-US" sz="1400" b="1" dirty="0">
              <a:solidFill>
                <a:prstClr val="white"/>
              </a:solidFill>
              <a:latin typeface="Ebrima"/>
            </a:endParaRPr>
          </a:p>
          <a:p>
            <a:pPr marL="285750" indent="-285750" defTabSz="457200">
              <a:buFont typeface="Arial" panose="020B0604020202020204" pitchFamily="34" charset="0"/>
              <a:buChar char="•"/>
              <a:defRPr/>
            </a:pPr>
            <a:r>
              <a:rPr lang="en-US" sz="1400" b="1" dirty="0">
                <a:solidFill>
                  <a:prstClr val="white"/>
                </a:solidFill>
                <a:latin typeface="Ebrima"/>
              </a:rPr>
              <a:t>Free of cost and open to all </a:t>
            </a:r>
          </a:p>
          <a:p>
            <a:pPr marL="285750" indent="-285750" defTabSz="457200">
              <a:buFont typeface="Arial" panose="020B0604020202020204" pitchFamily="34" charset="0"/>
              <a:buChar char="•"/>
              <a:defRPr/>
            </a:pPr>
            <a:endParaRPr lang="en-US" sz="1400" b="1" dirty="0">
              <a:solidFill>
                <a:prstClr val="white"/>
              </a:solidFill>
              <a:latin typeface="Ebrima"/>
            </a:endParaRPr>
          </a:p>
          <a:p>
            <a:pPr marL="285750" indent="-285750" defTabSz="457200">
              <a:buFont typeface="Arial" panose="020B0604020202020204" pitchFamily="34" charset="0"/>
              <a:buChar char="•"/>
              <a:defRPr/>
            </a:pPr>
            <a:r>
              <a:rPr lang="en-US" sz="1400" b="1" dirty="0">
                <a:solidFill>
                  <a:prstClr val="white"/>
                </a:solidFill>
                <a:latin typeface="Ebrima"/>
              </a:rPr>
              <a:t>Available in 11 languages including English, Spanish and French</a:t>
            </a:r>
          </a:p>
          <a:p>
            <a:pPr marL="285750" indent="-285750" defTabSz="457200">
              <a:buFont typeface="Arial" panose="020B0604020202020204" pitchFamily="34" charset="0"/>
              <a:buChar char="•"/>
              <a:defRPr/>
            </a:pPr>
            <a:endParaRPr lang="en-US" sz="1400" b="1" dirty="0">
              <a:solidFill>
                <a:prstClr val="white"/>
              </a:solidFill>
              <a:latin typeface="Ebrima"/>
            </a:endParaRPr>
          </a:p>
          <a:p>
            <a:pPr marL="285750" indent="-285750" defTabSz="457200">
              <a:buFont typeface="Arial" panose="020B0604020202020204" pitchFamily="34" charset="0"/>
              <a:buChar char="•"/>
              <a:defRPr/>
            </a:pPr>
            <a:r>
              <a:rPr lang="en-US" sz="1400" b="1" dirty="0">
                <a:solidFill>
                  <a:prstClr val="white"/>
                </a:solidFill>
                <a:latin typeface="Ebrima"/>
              </a:rPr>
              <a:t>WHO certificate upon completion</a:t>
            </a:r>
            <a:endParaRPr lang="en-US" sz="1400" dirty="0">
              <a:solidFill>
                <a:prstClr val="black"/>
              </a:solidFill>
            </a:endParaRPr>
          </a:p>
        </p:txBody>
      </p:sp>
      <p:sp>
        <p:nvSpPr>
          <p:cNvPr id="16" name="TextBox 3">
            <a:extLst>
              <a:ext uri="{FF2B5EF4-FFF2-40B4-BE49-F238E27FC236}">
                <a16:creationId xmlns:a16="http://schemas.microsoft.com/office/drawing/2014/main" id="{7B4FDA01-C7C1-024F-B78A-00C15695DC8F}"/>
              </a:ext>
            </a:extLst>
          </p:cNvPr>
          <p:cNvSpPr txBox="1"/>
          <p:nvPr/>
        </p:nvSpPr>
        <p:spPr>
          <a:xfrm>
            <a:off x="2826889" y="1629826"/>
            <a:ext cx="6364737" cy="400110"/>
          </a:xfrm>
          <a:prstGeom prst="rect">
            <a:avLst/>
          </a:prstGeom>
          <a:noFill/>
        </p:spPr>
        <p:txBody>
          <a:bodyPr wrap="square" rtlCol="0">
            <a:spAutoFit/>
          </a:bodyPr>
          <a:lstStyle/>
          <a:p>
            <a:pPr algn="ctr" defTabSz="457200"/>
            <a:r>
              <a:rPr lang="en-US" sz="2000" b="1" dirty="0">
                <a:solidFill>
                  <a:prstClr val="white"/>
                </a:solidFill>
              </a:rPr>
              <a:t>Mental Health, recovery and community inclusion</a:t>
            </a:r>
            <a:endParaRPr lang="en-US" sz="2000" dirty="0">
              <a:solidFill>
                <a:prstClr val="black"/>
              </a:solidFill>
            </a:endParaRPr>
          </a:p>
        </p:txBody>
      </p:sp>
      <p:sp>
        <p:nvSpPr>
          <p:cNvPr id="2" name="TextBox 1">
            <a:extLst>
              <a:ext uri="{FF2B5EF4-FFF2-40B4-BE49-F238E27FC236}">
                <a16:creationId xmlns:a16="http://schemas.microsoft.com/office/drawing/2014/main" id="{16C8660D-D257-49E6-A546-A5F394186FDB}"/>
              </a:ext>
            </a:extLst>
          </p:cNvPr>
          <p:cNvSpPr txBox="1"/>
          <p:nvPr/>
        </p:nvSpPr>
        <p:spPr>
          <a:xfrm>
            <a:off x="7222435" y="3031789"/>
            <a:ext cx="2107095" cy="1631216"/>
          </a:xfrm>
          <a:prstGeom prst="rect">
            <a:avLst/>
          </a:prstGeom>
          <a:noFill/>
        </p:spPr>
        <p:txBody>
          <a:bodyPr wrap="square" rtlCol="0">
            <a:spAutoFit/>
          </a:bodyPr>
          <a:lstStyle/>
          <a:p>
            <a:r>
              <a:rPr lang="en-US" sz="2000" b="1" dirty="0">
                <a:solidFill>
                  <a:srgbClr val="FF0000"/>
                </a:solidFill>
                <a:latin typeface="Calibri" panose="020F0502020204030204" pitchFamily="34" charset="0"/>
                <a:ea typeface="Calibri" panose="020F0502020204030204" pitchFamily="34" charset="0"/>
              </a:rPr>
              <a:t>Target: </a:t>
            </a:r>
          </a:p>
          <a:p>
            <a:r>
              <a:rPr lang="en-US" sz="2000" b="1" dirty="0">
                <a:solidFill>
                  <a:srgbClr val="FF0000"/>
                </a:solidFill>
                <a:latin typeface="Calibri" panose="020F0502020204030204" pitchFamily="34" charset="0"/>
                <a:ea typeface="Calibri" panose="020F0502020204030204" pitchFamily="34" charset="0"/>
              </a:rPr>
              <a:t>5 million learners to complete the e-training by end 2024</a:t>
            </a:r>
            <a:endParaRPr lang="en-US" sz="2000" b="1" dirty="0">
              <a:solidFill>
                <a:srgbClr val="FF0000"/>
              </a:solidFill>
            </a:endParaRPr>
          </a:p>
        </p:txBody>
      </p:sp>
    </p:spTree>
    <p:extLst>
      <p:ext uri="{BB962C8B-B14F-4D97-AF65-F5344CB8AC3E}">
        <p14:creationId xmlns:p14="http://schemas.microsoft.com/office/powerpoint/2010/main" val="32681781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7">
            <a:extLst>
              <a:ext uri="{FF2B5EF4-FFF2-40B4-BE49-F238E27FC236}">
                <a16:creationId xmlns:a16="http://schemas.microsoft.com/office/drawing/2014/main" id="{DE3F9E9E-76B2-4C6B-AFEC-93B594FB1DB0}"/>
              </a:ext>
            </a:extLst>
          </p:cNvPr>
          <p:cNvSpPr txBox="1">
            <a:spLocks/>
          </p:cNvSpPr>
          <p:nvPr/>
        </p:nvSpPr>
        <p:spPr bwMode="auto">
          <a:xfrm>
            <a:off x="3612450" y="159330"/>
            <a:ext cx="5437760" cy="648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897016" rtl="0" eaLnBrk="1" fontAlgn="base" hangingPunct="1">
              <a:spcBef>
                <a:spcPct val="0"/>
              </a:spcBef>
              <a:spcAft>
                <a:spcPct val="0"/>
              </a:spcAft>
              <a:tabLst>
                <a:tab pos="270383" algn="l"/>
              </a:tabLst>
              <a:defRPr sz="2000" b="0" baseline="0">
                <a:solidFill>
                  <a:schemeClr val="accent4"/>
                </a:solidFill>
                <a:latin typeface="+mj-lt"/>
                <a:ea typeface="+mj-ea"/>
                <a:cs typeface="+mj-cs"/>
              </a:defRPr>
            </a:lvl1pPr>
            <a:lvl2pPr algn="l" defTabSz="897016" rtl="0" eaLnBrk="1" fontAlgn="base" hangingPunct="1">
              <a:spcBef>
                <a:spcPct val="0"/>
              </a:spcBef>
              <a:spcAft>
                <a:spcPct val="0"/>
              </a:spcAft>
              <a:defRPr sz="1900" b="1">
                <a:solidFill>
                  <a:schemeClr val="tx2"/>
                </a:solidFill>
                <a:latin typeface="Arial" charset="0"/>
              </a:defRPr>
            </a:lvl2pPr>
            <a:lvl3pPr algn="l" defTabSz="897016" rtl="0" eaLnBrk="1" fontAlgn="base" hangingPunct="1">
              <a:spcBef>
                <a:spcPct val="0"/>
              </a:spcBef>
              <a:spcAft>
                <a:spcPct val="0"/>
              </a:spcAft>
              <a:defRPr sz="1900" b="1">
                <a:solidFill>
                  <a:schemeClr val="tx2"/>
                </a:solidFill>
                <a:latin typeface="Arial" charset="0"/>
              </a:defRPr>
            </a:lvl3pPr>
            <a:lvl4pPr algn="l" defTabSz="897016" rtl="0" eaLnBrk="1" fontAlgn="base" hangingPunct="1">
              <a:spcBef>
                <a:spcPct val="0"/>
              </a:spcBef>
              <a:spcAft>
                <a:spcPct val="0"/>
              </a:spcAft>
              <a:defRPr sz="1900" b="1">
                <a:solidFill>
                  <a:schemeClr val="tx2"/>
                </a:solidFill>
                <a:latin typeface="Arial" charset="0"/>
              </a:defRPr>
            </a:lvl4pPr>
            <a:lvl5pPr algn="l" defTabSz="897016" rtl="0" eaLnBrk="1" fontAlgn="base" hangingPunct="1">
              <a:spcBef>
                <a:spcPct val="0"/>
              </a:spcBef>
              <a:spcAft>
                <a:spcPct val="0"/>
              </a:spcAft>
              <a:defRPr sz="1900" b="1">
                <a:solidFill>
                  <a:schemeClr val="tx2"/>
                </a:solidFill>
                <a:latin typeface="Arial" charset="0"/>
              </a:defRPr>
            </a:lvl5pPr>
            <a:lvl6pPr marL="458000" algn="l" defTabSz="897016" rtl="0" eaLnBrk="1" fontAlgn="base" hangingPunct="1">
              <a:spcBef>
                <a:spcPct val="0"/>
              </a:spcBef>
              <a:spcAft>
                <a:spcPct val="0"/>
              </a:spcAft>
              <a:defRPr sz="1900" b="1">
                <a:solidFill>
                  <a:schemeClr val="tx2"/>
                </a:solidFill>
                <a:latin typeface="Arial" charset="0"/>
              </a:defRPr>
            </a:lvl6pPr>
            <a:lvl7pPr marL="916095" algn="l" defTabSz="897016" rtl="0" eaLnBrk="1" fontAlgn="base" hangingPunct="1">
              <a:spcBef>
                <a:spcPct val="0"/>
              </a:spcBef>
              <a:spcAft>
                <a:spcPct val="0"/>
              </a:spcAft>
              <a:defRPr sz="1900" b="1">
                <a:solidFill>
                  <a:schemeClr val="tx2"/>
                </a:solidFill>
                <a:latin typeface="Arial" charset="0"/>
              </a:defRPr>
            </a:lvl7pPr>
            <a:lvl8pPr marL="1374154" algn="l" defTabSz="897016" rtl="0" eaLnBrk="1" fontAlgn="base" hangingPunct="1">
              <a:spcBef>
                <a:spcPct val="0"/>
              </a:spcBef>
              <a:spcAft>
                <a:spcPct val="0"/>
              </a:spcAft>
              <a:defRPr sz="1900" b="1">
                <a:solidFill>
                  <a:schemeClr val="tx2"/>
                </a:solidFill>
                <a:latin typeface="Arial" charset="0"/>
              </a:defRPr>
            </a:lvl8pPr>
            <a:lvl9pPr marL="1832209" algn="l" defTabSz="897016" rtl="0" eaLnBrk="1" fontAlgn="base" hangingPunct="1">
              <a:spcBef>
                <a:spcPct val="0"/>
              </a:spcBef>
              <a:spcAft>
                <a:spcPct val="0"/>
              </a:spcAft>
              <a:defRPr sz="1900" b="1">
                <a:solidFill>
                  <a:schemeClr val="tx2"/>
                </a:solidFill>
                <a:latin typeface="Arial" charset="0"/>
              </a:defRPr>
            </a:lvl9pPr>
          </a:lstStyle>
          <a:p>
            <a:pPr algn="ctr"/>
            <a:r>
              <a:rPr lang="en-GB" sz="4000" kern="0" dirty="0">
                <a:solidFill>
                  <a:schemeClr val="bg1"/>
                </a:solidFill>
                <a:latin typeface="+mn-lt"/>
                <a:ea typeface="+mn-ea"/>
                <a:cs typeface="+mn-cs"/>
              </a:rPr>
              <a:t>Rights based law reform</a:t>
            </a:r>
          </a:p>
          <a:p>
            <a:pPr algn="ctr"/>
            <a:endParaRPr lang="en-US" sz="2250" kern="0" dirty="0">
              <a:solidFill>
                <a:schemeClr val="bg1"/>
              </a:solidFill>
              <a:latin typeface="+mn-lt"/>
              <a:ea typeface="+mn-ea"/>
              <a:cs typeface="+mn-cs"/>
            </a:endParaRPr>
          </a:p>
        </p:txBody>
      </p:sp>
      <p:sp>
        <p:nvSpPr>
          <p:cNvPr id="2" name="TextBox 1">
            <a:extLst>
              <a:ext uri="{FF2B5EF4-FFF2-40B4-BE49-F238E27FC236}">
                <a16:creationId xmlns:a16="http://schemas.microsoft.com/office/drawing/2014/main" id="{DB75FB11-723B-4C8A-8CE4-46A031313E9B}"/>
              </a:ext>
            </a:extLst>
          </p:cNvPr>
          <p:cNvSpPr txBox="1"/>
          <p:nvPr/>
        </p:nvSpPr>
        <p:spPr>
          <a:xfrm>
            <a:off x="1524000" y="1742849"/>
            <a:ext cx="8083758" cy="2053639"/>
          </a:xfrm>
          <a:prstGeom prst="rect">
            <a:avLst/>
          </a:prstGeom>
          <a:noFill/>
        </p:spPr>
        <p:txBody>
          <a:bodyPr wrap="square" rtlCol="0">
            <a:spAutoFit/>
          </a:bodyPr>
          <a:lstStyle/>
          <a:p>
            <a:pPr marL="800900" lvl="1" indent="-342900">
              <a:lnSpc>
                <a:spcPct val="107000"/>
              </a:lnSpc>
              <a:buFont typeface="Wingdings" pitchFamily="2" charset="2"/>
              <a:buChar char="§"/>
            </a:pPr>
            <a:r>
              <a:rPr lang="en-US" sz="2000" dirty="0"/>
              <a:t>60,0000 enrollments, 30,000 successful completion </a:t>
            </a:r>
          </a:p>
          <a:p>
            <a:pPr marL="800900" lvl="1" indent="-342900">
              <a:lnSpc>
                <a:spcPct val="107000"/>
              </a:lnSpc>
              <a:buFont typeface="Wingdings" pitchFamily="2" charset="2"/>
              <a:buChar char="§"/>
            </a:pPr>
            <a:r>
              <a:rPr lang="en-US" sz="2000" dirty="0">
                <a:sym typeface="Wingdings" pitchFamily="2" charset="2"/>
              </a:rPr>
              <a:t>E-training implementation in Ghana, Bosnia &amp; Herzegovina, Czechia, Kenya, Philippines, Turkey and Zimbabwe </a:t>
            </a:r>
          </a:p>
          <a:p>
            <a:pPr marL="800900" lvl="1" indent="-342900">
              <a:lnSpc>
                <a:spcPct val="107000"/>
              </a:lnSpc>
              <a:buFont typeface="Wingdings" pitchFamily="2" charset="2"/>
              <a:buChar char="§"/>
            </a:pPr>
            <a:r>
              <a:rPr lang="en-US" sz="2000" dirty="0">
                <a:sym typeface="Wingdings" pitchFamily="2" charset="2"/>
              </a:rPr>
              <a:t>Translation into 11 languages: </a:t>
            </a:r>
            <a:br>
              <a:rPr lang="en-US" sz="2000" dirty="0">
                <a:sym typeface="Wingdings" pitchFamily="2" charset="2"/>
              </a:rPr>
            </a:br>
            <a:r>
              <a:rPr lang="en-US" sz="2000" dirty="0">
                <a:sym typeface="Wingdings" pitchFamily="2" charset="2"/>
              </a:rPr>
              <a:t>English, French, Spanish, Armenian, Bosnian, Czech, Estonian, Filipino, Italian, Polish, Turkish </a:t>
            </a:r>
          </a:p>
        </p:txBody>
      </p:sp>
      <p:sp>
        <p:nvSpPr>
          <p:cNvPr id="10" name="TextBox 9">
            <a:extLst>
              <a:ext uri="{FF2B5EF4-FFF2-40B4-BE49-F238E27FC236}">
                <a16:creationId xmlns:a16="http://schemas.microsoft.com/office/drawing/2014/main" id="{39F53F70-C561-45E3-8D5A-1ADE44DD3E88}"/>
              </a:ext>
            </a:extLst>
          </p:cNvPr>
          <p:cNvSpPr txBox="1"/>
          <p:nvPr/>
        </p:nvSpPr>
        <p:spPr>
          <a:xfrm>
            <a:off x="2175445" y="4135120"/>
            <a:ext cx="7881075" cy="2208916"/>
          </a:xfrm>
          <a:prstGeom prst="rect">
            <a:avLst/>
          </a:prstGeom>
          <a:solidFill>
            <a:schemeClr val="accent1">
              <a:lumMod val="20000"/>
              <a:lumOff val="80000"/>
            </a:schemeClr>
          </a:solidFill>
        </p:spPr>
        <p:txBody>
          <a:bodyPr wrap="square" tIns="90000" bIns="90000">
            <a:spAutoFit/>
          </a:bodyPr>
          <a:lstStyle/>
          <a:p>
            <a:pPr>
              <a:lnSpc>
                <a:spcPct val="107000"/>
              </a:lnSpc>
            </a:pPr>
            <a:r>
              <a:rPr lang="en-US" sz="2400" dirty="0">
                <a:ea typeface="Calibri" panose="020F0502020204030204" pitchFamily="34" charset="0"/>
                <a:cs typeface="Times New Roman" panose="02020603050405020304" pitchFamily="18" charset="0"/>
              </a:rPr>
              <a:t>First phase e-training evaluation:</a:t>
            </a:r>
          </a:p>
          <a:p>
            <a:pPr marL="800900" lvl="1" indent="-342900">
              <a:lnSpc>
                <a:spcPct val="107000"/>
              </a:lnSpc>
              <a:buFont typeface="Wingdings" pitchFamily="2" charset="2"/>
              <a:buChar char="§"/>
            </a:pPr>
            <a:r>
              <a:rPr lang="en-US" sz="2000" b="1" dirty="0"/>
              <a:t>Highly significant changes </a:t>
            </a:r>
            <a:r>
              <a:rPr lang="en-US" sz="2000" dirty="0"/>
              <a:t>on all pre and post training attitudinal scores (p&lt;0.0001)</a:t>
            </a:r>
            <a:br>
              <a:rPr lang="en-US" sz="2000" dirty="0"/>
            </a:br>
            <a:endParaRPr lang="en-US" sz="2000" dirty="0"/>
          </a:p>
          <a:p>
            <a:pPr marL="800900" lvl="1" indent="-342900">
              <a:lnSpc>
                <a:spcPct val="107000"/>
              </a:lnSpc>
              <a:buFont typeface="Wingdings" pitchFamily="2" charset="2"/>
              <a:buChar char="§"/>
            </a:pPr>
            <a:r>
              <a:rPr lang="en-US" sz="2000" b="1" dirty="0"/>
              <a:t>38% improvement in overall attitudes </a:t>
            </a:r>
            <a:r>
              <a:rPr lang="en-US" sz="2000" dirty="0"/>
              <a:t>towards a rights-based approach aligned with the CRPD </a:t>
            </a:r>
          </a:p>
        </p:txBody>
      </p:sp>
      <p:sp>
        <p:nvSpPr>
          <p:cNvPr id="14" name="Rectangle 7">
            <a:extLst>
              <a:ext uri="{FF2B5EF4-FFF2-40B4-BE49-F238E27FC236}">
                <a16:creationId xmlns:a16="http://schemas.microsoft.com/office/drawing/2014/main" id="{B1A132F8-9C96-AE40-906F-56B7148A0FD7}"/>
              </a:ext>
            </a:extLst>
          </p:cNvPr>
          <p:cNvSpPr>
            <a:spLocks noChangeArrowheads="1"/>
          </p:cNvSpPr>
          <p:nvPr/>
        </p:nvSpPr>
        <p:spPr bwMode="auto">
          <a:xfrm>
            <a:off x="1506000" y="213892"/>
            <a:ext cx="9180000" cy="1260000"/>
          </a:xfrm>
          <a:prstGeom prst="rect">
            <a:avLst/>
          </a:prstGeom>
          <a:solidFill>
            <a:srgbClr val="4472C4"/>
          </a:solidFill>
          <a:ln>
            <a:noFill/>
          </a:ln>
          <a:effectLst>
            <a:outerShdw blurRad="50800" dist="76200" dir="5400000" algn="ctr" rotWithShape="0">
              <a:schemeClr val="tx1">
                <a:alpha val="40000"/>
              </a:schemeClr>
            </a:outerShdw>
          </a:effectLst>
        </p:spPr>
        <p:txBody>
          <a:bodyPr wrap="square" tIns="108000" rIns="720000" bIns="216000" anchor="ctr" anchorCtr="0">
            <a:noAutofit/>
          </a:bodyPr>
          <a:lstStyle>
            <a:lvl1pPr>
              <a:spcBef>
                <a:spcPct val="20000"/>
              </a:spcBef>
              <a:buChar char="•"/>
              <a:defRPr sz="3200">
                <a:solidFill>
                  <a:schemeClr val="tx1"/>
                </a:solidFill>
                <a:latin typeface="Arial" charset="0"/>
                <a:cs typeface="Arial" charset="0"/>
              </a:defRPr>
            </a:lvl1pPr>
            <a:lvl2pPr marL="742950" indent="-285750">
              <a:spcBef>
                <a:spcPct val="20000"/>
              </a:spcBef>
              <a:buChar char="–"/>
              <a:defRPr sz="2800">
                <a:solidFill>
                  <a:schemeClr val="tx1"/>
                </a:solidFill>
                <a:latin typeface="Arial" charset="0"/>
                <a:cs typeface="Arial" charset="0"/>
              </a:defRPr>
            </a:lvl2pPr>
            <a:lvl3pPr marL="1143000" indent="-228600">
              <a:spcBef>
                <a:spcPct val="20000"/>
              </a:spcBef>
              <a:buChar char="•"/>
              <a:defRPr sz="2400">
                <a:solidFill>
                  <a:schemeClr val="tx1"/>
                </a:solidFill>
                <a:latin typeface="Arial" charset="0"/>
                <a:cs typeface="Arial" charset="0"/>
              </a:defRPr>
            </a:lvl3pPr>
            <a:lvl4pPr marL="1600200" indent="-228600">
              <a:spcBef>
                <a:spcPct val="20000"/>
              </a:spcBef>
              <a:buChar char="–"/>
              <a:defRPr sz="2000">
                <a:solidFill>
                  <a:schemeClr val="tx1"/>
                </a:solidFill>
                <a:latin typeface="Arial" charset="0"/>
                <a:cs typeface="Arial" charset="0"/>
              </a:defRPr>
            </a:lvl4pPr>
            <a:lvl5pPr marL="2057400" indent="-22860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algn="ctr">
              <a:spcBef>
                <a:spcPct val="0"/>
              </a:spcBef>
              <a:buFontTx/>
              <a:buNone/>
            </a:pPr>
            <a:r>
              <a:rPr lang="en-US" altLang="en-US" sz="2800" b="1" dirty="0">
                <a:solidFill>
                  <a:schemeClr val="bg1"/>
                </a:solidFill>
                <a:latin typeface="Ebrima"/>
              </a:rPr>
              <a:t>	Impact of WHO’s QualityRights e-training</a:t>
            </a:r>
            <a:endParaRPr lang="en-US" sz="2000" b="1" dirty="0">
              <a:solidFill>
                <a:schemeClr val="bg1"/>
              </a:solidFill>
            </a:endParaRPr>
          </a:p>
        </p:txBody>
      </p:sp>
      <p:pic>
        <p:nvPicPr>
          <p:cNvPr id="17" name="Picture 3">
            <a:extLst>
              <a:ext uri="{FF2B5EF4-FFF2-40B4-BE49-F238E27FC236}">
                <a16:creationId xmlns:a16="http://schemas.microsoft.com/office/drawing/2014/main" id="{BB29D6CE-40CD-0D47-A86E-78438283D8AB}"/>
              </a:ext>
            </a:extLst>
          </p:cNvPr>
          <p:cNvPicPr>
            <a:picLocks noChangeAspect="1" noChangeArrowheads="1"/>
          </p:cNvPicPr>
          <p:nvPr/>
        </p:nvPicPr>
        <p:blipFill>
          <a:blip r:embed="rId3"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76200" y="165446"/>
            <a:ext cx="1302888" cy="107640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Tree>
    <p:extLst>
      <p:ext uri="{BB962C8B-B14F-4D97-AF65-F5344CB8AC3E}">
        <p14:creationId xmlns:p14="http://schemas.microsoft.com/office/powerpoint/2010/main" val="10439994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ooter Placeholder 1">
            <a:extLst>
              <a:ext uri="{FF2B5EF4-FFF2-40B4-BE49-F238E27FC236}">
                <a16:creationId xmlns:a16="http://schemas.microsoft.com/office/drawing/2014/main" id="{6FE1B54D-12B0-4012-E600-FD05BFED728A}"/>
              </a:ext>
            </a:extLst>
          </p:cNvPr>
          <p:cNvSpPr>
            <a:spLocks noGrp="1"/>
          </p:cNvSpPr>
          <p:nvPr>
            <p:ph type="ftr" sz="quarter" idx="11"/>
          </p:nvPr>
        </p:nvSpPr>
        <p:spPr>
          <a:xfrm>
            <a:off x="507205" y="6623100"/>
            <a:ext cx="9018587" cy="216000"/>
          </a:xfrm>
        </p:spPr>
        <p:txBody>
          <a:bodyPr anchor="ctr">
            <a:normAutofit/>
          </a:bodyPr>
          <a:lstStyle/>
          <a:p>
            <a:pPr>
              <a:spcAft>
                <a:spcPts val="600"/>
              </a:spcAft>
            </a:pPr>
            <a:endParaRPr lang="en-US" dirty="0"/>
          </a:p>
        </p:txBody>
      </p:sp>
      <p:sp>
        <p:nvSpPr>
          <p:cNvPr id="6" name="Slide Number Placeholder 5">
            <a:extLst>
              <a:ext uri="{FF2B5EF4-FFF2-40B4-BE49-F238E27FC236}">
                <a16:creationId xmlns:a16="http://schemas.microsoft.com/office/drawing/2014/main" id="{3A33D483-AC57-857E-79A4-F377A0E79B11}"/>
              </a:ext>
            </a:extLst>
          </p:cNvPr>
          <p:cNvSpPr>
            <a:spLocks noGrp="1"/>
          </p:cNvSpPr>
          <p:nvPr>
            <p:ph type="sldNum" sz="quarter" idx="12"/>
          </p:nvPr>
        </p:nvSpPr>
        <p:spPr>
          <a:xfrm>
            <a:off x="10034587" y="6623100"/>
            <a:ext cx="1648619" cy="216000"/>
          </a:xfrm>
        </p:spPr>
        <p:txBody>
          <a:bodyPr anchor="ctr">
            <a:normAutofit/>
          </a:bodyPr>
          <a:lstStyle/>
          <a:p>
            <a:pPr>
              <a:spcAft>
                <a:spcPts val="600"/>
              </a:spcAft>
            </a:pPr>
            <a:fld id="{CFE7C01E-97B8-4569-8908-63AB0F06FED5}" type="slidenum">
              <a:rPr lang="en-US" smtClean="0"/>
              <a:pPr>
                <a:spcAft>
                  <a:spcPts val="600"/>
                </a:spcAft>
              </a:pPr>
              <a:t>2</a:t>
            </a:fld>
            <a:endParaRPr lang="en-US"/>
          </a:p>
        </p:txBody>
      </p:sp>
      <p:pic>
        <p:nvPicPr>
          <p:cNvPr id="8" name="Picture 7" descr="Graphical user interface, text, application, email&#10;&#10;Description automatically generated">
            <a:extLst>
              <a:ext uri="{FF2B5EF4-FFF2-40B4-BE49-F238E27FC236}">
                <a16:creationId xmlns:a16="http://schemas.microsoft.com/office/drawing/2014/main" id="{F3613971-65BA-D157-D890-41C4D04FF2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7205" y="208345"/>
            <a:ext cx="6530204" cy="3115314"/>
          </a:xfrm>
          <a:prstGeom prst="rect">
            <a:avLst/>
          </a:prstGeom>
          <a:noFill/>
        </p:spPr>
      </p:pic>
      <p:pic>
        <p:nvPicPr>
          <p:cNvPr id="10" name="Picture 9" descr="Graphical user interface, text, application, email&#10;&#10;Description automatically generated">
            <a:extLst>
              <a:ext uri="{FF2B5EF4-FFF2-40B4-BE49-F238E27FC236}">
                <a16:creationId xmlns:a16="http://schemas.microsoft.com/office/drawing/2014/main" id="{AF62E5B7-F012-4030-8C24-6CB029F267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9872" y="3429000"/>
            <a:ext cx="7208425" cy="2982238"/>
          </a:xfrm>
          <a:prstGeom prst="rect">
            <a:avLst/>
          </a:prstGeom>
          <a:noFill/>
        </p:spPr>
      </p:pic>
      <p:sp>
        <p:nvSpPr>
          <p:cNvPr id="4" name="Date Placeholder 3">
            <a:extLst>
              <a:ext uri="{FF2B5EF4-FFF2-40B4-BE49-F238E27FC236}">
                <a16:creationId xmlns:a16="http://schemas.microsoft.com/office/drawing/2014/main" id="{0E314F04-8CE5-CFBE-6A0D-368D05D1D757}"/>
              </a:ext>
            </a:extLst>
          </p:cNvPr>
          <p:cNvSpPr>
            <a:spLocks noGrp="1"/>
          </p:cNvSpPr>
          <p:nvPr>
            <p:ph type="dt" sz="half" idx="4294967295"/>
          </p:nvPr>
        </p:nvSpPr>
        <p:spPr/>
        <p:txBody>
          <a:bodyPr/>
          <a:lstStyle/>
          <a:p>
            <a:pPr>
              <a:spcAft>
                <a:spcPts val="600"/>
              </a:spcAft>
            </a:pPr>
            <a:fld id="{B1DE0AC8-95C4-B541-B6E6-0868A832B41F}" type="datetime1">
              <a:rPr lang="en-US" smtClean="0"/>
              <a:pPr>
                <a:spcAft>
                  <a:spcPts val="600"/>
                </a:spcAft>
              </a:pPr>
              <a:t>6/1/2022</a:t>
            </a:fld>
            <a:endParaRPr lang="en-US"/>
          </a:p>
        </p:txBody>
      </p:sp>
    </p:spTree>
    <p:extLst>
      <p:ext uri="{BB962C8B-B14F-4D97-AF65-F5344CB8AC3E}">
        <p14:creationId xmlns:p14="http://schemas.microsoft.com/office/powerpoint/2010/main" val="23403663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Picture 3" descr="WHO-EN-white-H">
            <a:extLst>
              <a:ext uri="{FF2B5EF4-FFF2-40B4-BE49-F238E27FC236}">
                <a16:creationId xmlns:a16="http://schemas.microsoft.com/office/drawing/2014/main" id="{52E98643-8F7A-4704-896E-5F758B9E06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7362" y="5598676"/>
            <a:ext cx="2720339" cy="886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5">
            <a:extLst>
              <a:ext uri="{FF2B5EF4-FFF2-40B4-BE49-F238E27FC236}">
                <a16:creationId xmlns:a16="http://schemas.microsoft.com/office/drawing/2014/main" id="{0AC458E6-8BE4-2544-AAF5-29BE01EE5F4A}"/>
              </a:ext>
            </a:extLst>
          </p:cNvPr>
          <p:cNvSpPr txBox="1">
            <a:spLocks noChangeArrowheads="1"/>
          </p:cNvSpPr>
          <p:nvPr/>
        </p:nvSpPr>
        <p:spPr bwMode="auto">
          <a:xfrm>
            <a:off x="1737361" y="1719438"/>
            <a:ext cx="8864600" cy="186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37931725" indent="-37474525">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defTabSz="914400" fontAlgn="base">
              <a:spcBef>
                <a:spcPct val="50000"/>
              </a:spcBef>
              <a:spcAft>
                <a:spcPct val="0"/>
              </a:spcAft>
              <a:defRPr/>
            </a:pPr>
            <a:r>
              <a:rPr lang="en-US" altLang="en-US" sz="3300" b="1" dirty="0">
                <a:latin typeface="Calibri" panose="020F0502020204030204" pitchFamily="34" charset="0"/>
                <a:cs typeface="Calibri" panose="020F0502020204030204" pitchFamily="34" charset="0"/>
              </a:rPr>
              <a:t>A</a:t>
            </a:r>
            <a:r>
              <a:rPr lang="en-US" altLang="en-US" sz="3300" b="1" dirty="0" err="1">
                <a:latin typeface="Calibri" panose="020F0502020204030204" pitchFamily="34" charset="0"/>
                <a:cs typeface="Calibri" panose="020F0502020204030204" pitchFamily="34" charset="0"/>
              </a:rPr>
              <a:t>ccess</a:t>
            </a:r>
            <a:r>
              <a:rPr lang="en-US" altLang="en-US" sz="3300" b="1" dirty="0">
                <a:latin typeface="Calibri" panose="020F0502020204030204" pitchFamily="34" charset="0"/>
                <a:cs typeface="Calibri" panose="020F0502020204030204" pitchFamily="34" charset="0"/>
              </a:rPr>
              <a:t> QualityRights e-training at:</a:t>
            </a:r>
          </a:p>
          <a:p>
            <a:pPr algn="ctr" defTabSz="914400" fontAlgn="base">
              <a:spcBef>
                <a:spcPct val="50000"/>
              </a:spcBef>
              <a:spcAft>
                <a:spcPct val="0"/>
              </a:spcAft>
              <a:defRPr/>
            </a:pPr>
            <a:r>
              <a:rPr lang="en-US" altLang="en-US" sz="3300" b="1" dirty="0">
                <a:solidFill>
                  <a:srgbClr val="0000CC"/>
                </a:solidFill>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s://www.who.int/teams/mental-health-and-substance-use/policy-law-rights/qr-e-training</a:t>
            </a:r>
            <a:r>
              <a:rPr lang="en-US" altLang="en-US" sz="3300" b="1" dirty="0">
                <a:solidFill>
                  <a:srgbClr val="0000CC"/>
                </a:solidFill>
                <a:latin typeface="Calibri" panose="020F0502020204030204" pitchFamily="34" charset="0"/>
                <a:cs typeface="Calibri" panose="020F0502020204030204" pitchFamily="34" charset="0"/>
              </a:rPr>
              <a:t> </a:t>
            </a:r>
            <a:endParaRPr lang="en-GB" altLang="en-US" sz="3300" b="1" dirty="0">
              <a:solidFill>
                <a:srgbClr val="0000CC"/>
              </a:solidFill>
              <a:latin typeface="Calibri" panose="020F0502020204030204" pitchFamily="34" charset="0"/>
              <a:cs typeface="Calibri" panose="020F0502020204030204" pitchFamily="34" charset="0"/>
            </a:endParaRPr>
          </a:p>
        </p:txBody>
      </p:sp>
      <p:grpSp>
        <p:nvGrpSpPr>
          <p:cNvPr id="8" name="Google Shape;96;p1">
            <a:extLst>
              <a:ext uri="{FF2B5EF4-FFF2-40B4-BE49-F238E27FC236}">
                <a16:creationId xmlns:a16="http://schemas.microsoft.com/office/drawing/2014/main" id="{70DC10F9-8A55-ED45-B099-0B07C3408844}"/>
              </a:ext>
            </a:extLst>
          </p:cNvPr>
          <p:cNvGrpSpPr/>
          <p:nvPr/>
        </p:nvGrpSpPr>
        <p:grpSpPr>
          <a:xfrm rot="10800000">
            <a:off x="1496914" y="5634534"/>
            <a:ext cx="9199051" cy="1257337"/>
            <a:chOff x="-44772" y="-14288"/>
            <a:chExt cx="3473771" cy="894956"/>
          </a:xfrm>
        </p:grpSpPr>
        <p:sp>
          <p:nvSpPr>
            <p:cNvPr id="11" name="Google Shape;97;p1">
              <a:extLst>
                <a:ext uri="{FF2B5EF4-FFF2-40B4-BE49-F238E27FC236}">
                  <a16:creationId xmlns:a16="http://schemas.microsoft.com/office/drawing/2014/main" id="{8C7EBAC1-C3D0-4D4A-8FFF-EA3AAFC0A297}"/>
                </a:ext>
              </a:extLst>
            </p:cNvPr>
            <p:cNvSpPr/>
            <p:nvPr/>
          </p:nvSpPr>
          <p:spPr>
            <a:xfrm rot="10800000">
              <a:off x="714370" y="-1283"/>
              <a:ext cx="2714625" cy="814944"/>
            </a:xfrm>
            <a:prstGeom prst="rtTriangle">
              <a:avLst/>
            </a:prstGeom>
            <a:solidFill>
              <a:srgbClr val="4472C4">
                <a:alpha val="20392"/>
              </a:srgbClr>
            </a:solidFill>
            <a:ln>
              <a:noFill/>
            </a:ln>
          </p:spPr>
          <p:txBody>
            <a:bodyPr spcFirstLastPara="1" wrap="square" lIns="91425" tIns="45700" rIns="91425" bIns="45700" anchor="ctr" anchorCtr="0">
              <a:noAutofit/>
            </a:bodyPr>
            <a:lstStyle/>
            <a:p>
              <a:pPr algn="ctr">
                <a:buClr>
                  <a:srgbClr val="000000"/>
                </a:buClr>
                <a:buSzPts val="1800"/>
              </a:pPr>
              <a:endParaRPr sz="1800">
                <a:solidFill>
                  <a:schemeClr val="lt1"/>
                </a:solidFill>
                <a:latin typeface="Calibri"/>
                <a:ea typeface="Calibri"/>
                <a:cs typeface="Calibri"/>
                <a:sym typeface="Calibri"/>
              </a:endParaRPr>
            </a:p>
          </p:txBody>
        </p:sp>
        <p:sp>
          <p:nvSpPr>
            <p:cNvPr id="13" name="Google Shape;98;p1">
              <a:extLst>
                <a:ext uri="{FF2B5EF4-FFF2-40B4-BE49-F238E27FC236}">
                  <a16:creationId xmlns:a16="http://schemas.microsoft.com/office/drawing/2014/main" id="{1971C816-E835-3947-93DA-758C55FEB842}"/>
                </a:ext>
              </a:extLst>
            </p:cNvPr>
            <p:cNvSpPr/>
            <p:nvPr/>
          </p:nvSpPr>
          <p:spPr>
            <a:xfrm rot="10800000">
              <a:off x="714371" y="-1"/>
              <a:ext cx="2714625" cy="654491"/>
            </a:xfrm>
            <a:prstGeom prst="rtTriangle">
              <a:avLst/>
            </a:prstGeom>
            <a:solidFill>
              <a:srgbClr val="4472C4">
                <a:alpha val="47450"/>
              </a:srgbClr>
            </a:solidFill>
            <a:ln>
              <a:noFill/>
            </a:ln>
          </p:spPr>
          <p:txBody>
            <a:bodyPr spcFirstLastPara="1" wrap="square" lIns="91425" tIns="45700" rIns="91425" bIns="45700" anchor="ctr" anchorCtr="0">
              <a:noAutofit/>
            </a:bodyPr>
            <a:lstStyle/>
            <a:p>
              <a:pPr algn="ctr">
                <a:buClr>
                  <a:srgbClr val="000000"/>
                </a:buClr>
                <a:buSzPts val="1800"/>
              </a:pPr>
              <a:endParaRPr sz="1800">
                <a:solidFill>
                  <a:schemeClr val="lt1"/>
                </a:solidFill>
                <a:latin typeface="Calibri"/>
                <a:ea typeface="Calibri"/>
                <a:cs typeface="Calibri"/>
                <a:sym typeface="Calibri"/>
              </a:endParaRPr>
            </a:p>
          </p:txBody>
        </p:sp>
        <p:sp>
          <p:nvSpPr>
            <p:cNvPr id="14" name="Google Shape;99;p1">
              <a:extLst>
                <a:ext uri="{FF2B5EF4-FFF2-40B4-BE49-F238E27FC236}">
                  <a16:creationId xmlns:a16="http://schemas.microsoft.com/office/drawing/2014/main" id="{D34942E1-347A-5441-A72F-4491D7C99D36}"/>
                </a:ext>
              </a:extLst>
            </p:cNvPr>
            <p:cNvSpPr/>
            <p:nvPr/>
          </p:nvSpPr>
          <p:spPr>
            <a:xfrm rot="10800000">
              <a:off x="714374" y="-14288"/>
              <a:ext cx="2714625" cy="471488"/>
            </a:xfrm>
            <a:prstGeom prst="rtTriangle">
              <a:avLst/>
            </a:prstGeom>
            <a:solidFill>
              <a:srgbClr val="4472C4"/>
            </a:solidFill>
            <a:ln>
              <a:noFill/>
            </a:ln>
          </p:spPr>
          <p:txBody>
            <a:bodyPr spcFirstLastPara="1" wrap="square" lIns="91425" tIns="45700" rIns="91425" bIns="45700" anchor="ctr" anchorCtr="0">
              <a:noAutofit/>
            </a:bodyPr>
            <a:lstStyle/>
            <a:p>
              <a:pPr algn="ctr">
                <a:buClr>
                  <a:srgbClr val="000000"/>
                </a:buClr>
                <a:buSzPts val="1800"/>
              </a:pPr>
              <a:endParaRPr sz="1800">
                <a:solidFill>
                  <a:schemeClr val="lt1"/>
                </a:solidFill>
                <a:latin typeface="Calibri"/>
                <a:ea typeface="Calibri"/>
                <a:cs typeface="Calibri"/>
                <a:sym typeface="Calibri"/>
              </a:endParaRPr>
            </a:p>
          </p:txBody>
        </p:sp>
        <p:sp>
          <p:nvSpPr>
            <p:cNvPr id="15" name="Google Shape;100;p1">
              <a:extLst>
                <a:ext uri="{FF2B5EF4-FFF2-40B4-BE49-F238E27FC236}">
                  <a16:creationId xmlns:a16="http://schemas.microsoft.com/office/drawing/2014/main" id="{9233F82E-3239-5043-8402-165ED74CE679}"/>
                </a:ext>
              </a:extLst>
            </p:cNvPr>
            <p:cNvSpPr/>
            <p:nvPr/>
          </p:nvSpPr>
          <p:spPr>
            <a:xfrm rot="10800000" flipH="1">
              <a:off x="-42353" y="-6118"/>
              <a:ext cx="2895611" cy="886786"/>
            </a:xfrm>
            <a:prstGeom prst="rtTriangle">
              <a:avLst/>
            </a:prstGeom>
            <a:solidFill>
              <a:srgbClr val="B3C6E7"/>
            </a:solidFill>
            <a:ln>
              <a:noFill/>
            </a:ln>
          </p:spPr>
          <p:txBody>
            <a:bodyPr spcFirstLastPara="1" wrap="square" lIns="91425" tIns="45700" rIns="91425" bIns="45700" anchor="ctr" anchorCtr="0">
              <a:noAutofit/>
            </a:bodyPr>
            <a:lstStyle/>
            <a:p>
              <a:pPr algn="ctr">
                <a:buClr>
                  <a:srgbClr val="000000"/>
                </a:buClr>
                <a:buSzPts val="1800"/>
              </a:pPr>
              <a:endParaRPr sz="1800">
                <a:solidFill>
                  <a:schemeClr val="lt1"/>
                </a:solidFill>
                <a:latin typeface="Calibri"/>
                <a:ea typeface="Calibri"/>
                <a:cs typeface="Calibri"/>
                <a:sym typeface="Calibri"/>
              </a:endParaRPr>
            </a:p>
          </p:txBody>
        </p:sp>
        <p:sp>
          <p:nvSpPr>
            <p:cNvPr id="16" name="Google Shape;101;p1">
              <a:extLst>
                <a:ext uri="{FF2B5EF4-FFF2-40B4-BE49-F238E27FC236}">
                  <a16:creationId xmlns:a16="http://schemas.microsoft.com/office/drawing/2014/main" id="{628B596E-A301-574F-9C0A-15F3A3E5D198}"/>
                </a:ext>
              </a:extLst>
            </p:cNvPr>
            <p:cNvSpPr/>
            <p:nvPr/>
          </p:nvSpPr>
          <p:spPr>
            <a:xfrm rot="10800000" flipH="1">
              <a:off x="-44772" y="-6117"/>
              <a:ext cx="3045150" cy="714376"/>
            </a:xfrm>
            <a:prstGeom prst="rtTriangle">
              <a:avLst/>
            </a:prstGeom>
            <a:solidFill>
              <a:srgbClr val="4472C4">
                <a:alpha val="47450"/>
              </a:srgbClr>
            </a:solidFill>
            <a:ln>
              <a:noFill/>
            </a:ln>
          </p:spPr>
          <p:txBody>
            <a:bodyPr spcFirstLastPara="1" wrap="square" lIns="91425" tIns="45700" rIns="91425" bIns="45700" anchor="ctr" anchorCtr="0">
              <a:noAutofit/>
            </a:bodyPr>
            <a:lstStyle/>
            <a:p>
              <a:pPr algn="ctr">
                <a:buClr>
                  <a:srgbClr val="000000"/>
                </a:buClr>
                <a:buSzPts val="1800"/>
              </a:pPr>
              <a:endParaRPr sz="1800" dirty="0">
                <a:solidFill>
                  <a:schemeClr val="lt1"/>
                </a:solidFill>
                <a:latin typeface="Calibri"/>
                <a:ea typeface="Calibri"/>
                <a:cs typeface="Calibri"/>
                <a:sym typeface="Calibri"/>
              </a:endParaRPr>
            </a:p>
          </p:txBody>
        </p:sp>
      </p:grpSp>
      <p:pic>
        <p:nvPicPr>
          <p:cNvPr id="9" name="Picture 3" descr="WHO-EN-white-H">
            <a:extLst>
              <a:ext uri="{FF2B5EF4-FFF2-40B4-BE49-F238E27FC236}">
                <a16:creationId xmlns:a16="http://schemas.microsoft.com/office/drawing/2014/main" id="{92684BD7-DE22-B347-B309-DF032D3C129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54389" y="6247835"/>
            <a:ext cx="1545505" cy="503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3">
            <a:extLst>
              <a:ext uri="{FF2B5EF4-FFF2-40B4-BE49-F238E27FC236}">
                <a16:creationId xmlns:a16="http://schemas.microsoft.com/office/drawing/2014/main" id="{665DEBF2-2251-994D-817B-CE83BE986F74}"/>
              </a:ext>
            </a:extLst>
          </p:cNvPr>
          <p:cNvPicPr>
            <a:picLocks noChangeAspect="1" noChangeArrowheads="1"/>
          </p:cNvPicPr>
          <p:nvPr/>
        </p:nvPicPr>
        <p:blipFill>
          <a:blip r:embed="rId5"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1584960" y="142240"/>
            <a:ext cx="1302888" cy="107640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Tree>
    <p:extLst>
      <p:ext uri="{BB962C8B-B14F-4D97-AF65-F5344CB8AC3E}">
        <p14:creationId xmlns:p14="http://schemas.microsoft.com/office/powerpoint/2010/main" val="21474616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eform: Shape 8">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4">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7" name="Isosceles Triangle 16">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Online Media 1" descr="WHO: Providing &quot;QualityRights&quot; in mental health services (Gujarat, India)">
            <a:hlinkClick r:id="" action="ppaction://media"/>
            <a:extLst>
              <a:ext uri="{FF2B5EF4-FFF2-40B4-BE49-F238E27FC236}">
                <a16:creationId xmlns:a16="http://schemas.microsoft.com/office/drawing/2014/main" id="{C160D303-8A0A-3858-9867-E012D88F258D}"/>
              </a:ext>
            </a:extLst>
          </p:cNvPr>
          <p:cNvPicPr>
            <a:picLocks noRot="1" noChangeAspect="1"/>
          </p:cNvPicPr>
          <p:nvPr>
            <a:videoFile r:link="rId1"/>
          </p:nvPr>
        </p:nvPicPr>
        <p:blipFill>
          <a:blip r:embed="rId3"/>
          <a:stretch>
            <a:fillRect/>
          </a:stretch>
        </p:blipFill>
        <p:spPr>
          <a:xfrm>
            <a:off x="1165854" y="643467"/>
            <a:ext cx="9860292" cy="5571065"/>
          </a:xfrm>
          <a:prstGeom prst="rect">
            <a:avLst/>
          </a:prstGeom>
          <a:ln>
            <a:noFill/>
          </a:ln>
        </p:spPr>
      </p:pic>
      <p:sp>
        <p:nvSpPr>
          <p:cNvPr id="19" name="Isosceles Triangle 18">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9709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D038248A-211C-4EEC-8401-C761B929FB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30A849F-66D9-40C8-BEC8-35AFF8F456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 name="Title 1">
            <a:extLst>
              <a:ext uri="{FF2B5EF4-FFF2-40B4-BE49-F238E27FC236}">
                <a16:creationId xmlns:a16="http://schemas.microsoft.com/office/drawing/2014/main" id="{35ABDD10-E9A9-75A5-179A-FA4F04DF57BF}"/>
              </a:ext>
            </a:extLst>
          </p:cNvPr>
          <p:cNvSpPr>
            <a:spLocks noGrp="1"/>
          </p:cNvSpPr>
          <p:nvPr>
            <p:ph type="title"/>
          </p:nvPr>
        </p:nvSpPr>
        <p:spPr>
          <a:xfrm>
            <a:off x="1179073" y="341247"/>
            <a:ext cx="9833548" cy="1325563"/>
          </a:xfrm>
        </p:spPr>
        <p:txBody>
          <a:bodyPr vert="horz" lIns="91440" tIns="45720" rIns="91440" bIns="45720" rtlCol="0" anchor="b">
            <a:normAutofit/>
          </a:bodyPr>
          <a:lstStyle/>
          <a:p>
            <a:pPr defTabSz="914400">
              <a:lnSpc>
                <a:spcPct val="90000"/>
              </a:lnSpc>
            </a:pPr>
            <a:r>
              <a:rPr lang="en-US" sz="2400" b="1" dirty="0">
                <a:solidFill>
                  <a:schemeClr val="tx2"/>
                </a:solidFill>
              </a:rPr>
              <a:t>GRAND DESIGNS: Person-</a:t>
            </a:r>
            <a:r>
              <a:rPr lang="en-US" sz="2400" b="1" dirty="0" err="1">
                <a:solidFill>
                  <a:schemeClr val="tx2"/>
                </a:solidFill>
              </a:rPr>
              <a:t>sentrerte</a:t>
            </a:r>
            <a:r>
              <a:rPr lang="en-US" sz="2400" b="1" dirty="0">
                <a:solidFill>
                  <a:schemeClr val="tx2"/>
                </a:solidFill>
              </a:rPr>
              <a:t> / recovery </a:t>
            </a:r>
            <a:r>
              <a:rPr lang="en-US" sz="2400" b="1" dirty="0" err="1">
                <a:solidFill>
                  <a:schemeClr val="tx2"/>
                </a:solidFill>
              </a:rPr>
              <a:t>orienterte</a:t>
            </a:r>
            <a:r>
              <a:rPr lang="en-US" sz="2400" b="1" dirty="0">
                <a:solidFill>
                  <a:schemeClr val="tx2"/>
                </a:solidFill>
              </a:rPr>
              <a:t> </a:t>
            </a:r>
            <a:r>
              <a:rPr lang="en-US" sz="2400" b="1" dirty="0" err="1">
                <a:solidFill>
                  <a:schemeClr val="tx2"/>
                </a:solidFill>
              </a:rPr>
              <a:t>tjenester</a:t>
            </a:r>
            <a:r>
              <a:rPr lang="en-US" sz="2400" b="1" dirty="0">
                <a:solidFill>
                  <a:schemeClr val="tx2"/>
                </a:solidFill>
              </a:rPr>
              <a:t>: </a:t>
            </a:r>
            <a:br>
              <a:rPr lang="en-US" sz="1700" kern="1200" dirty="0">
                <a:solidFill>
                  <a:schemeClr val="tx2"/>
                </a:solidFill>
                <a:latin typeface="+mj-lt"/>
                <a:ea typeface="+mj-ea"/>
                <a:cs typeface="+mj-cs"/>
              </a:rPr>
            </a:br>
            <a:br>
              <a:rPr lang="en-US" sz="1700" kern="1200" dirty="0">
                <a:solidFill>
                  <a:schemeClr val="tx2"/>
                </a:solidFill>
                <a:latin typeface="+mj-lt"/>
                <a:ea typeface="+mj-ea"/>
                <a:cs typeface="+mj-cs"/>
              </a:rPr>
            </a:br>
            <a:endParaRPr lang="en-US" sz="1700" kern="1200" dirty="0">
              <a:solidFill>
                <a:schemeClr val="tx2"/>
              </a:solidFill>
              <a:latin typeface="+mj-lt"/>
              <a:ea typeface="+mj-ea"/>
              <a:cs typeface="+mj-cs"/>
            </a:endParaRPr>
          </a:p>
        </p:txBody>
      </p:sp>
      <p:grpSp>
        <p:nvGrpSpPr>
          <p:cNvPr id="13" name="Group 12">
            <a:extLst>
              <a:ext uri="{FF2B5EF4-FFF2-40B4-BE49-F238E27FC236}">
                <a16:creationId xmlns:a16="http://schemas.microsoft.com/office/drawing/2014/main" id="{04542298-A2B1-480F-A11C-A40EDD19B85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289890" y="0"/>
            <a:ext cx="3902110" cy="2382977"/>
            <a:chOff x="6867015" y="-1"/>
            <a:chExt cx="5324985" cy="3251912"/>
          </a:xfrm>
          <a:solidFill>
            <a:schemeClr val="accent5">
              <a:alpha val="10000"/>
            </a:schemeClr>
          </a:solidFill>
        </p:grpSpPr>
        <p:sp>
          <p:nvSpPr>
            <p:cNvPr id="14" name="Freeform: Shape 13">
              <a:extLst>
                <a:ext uri="{FF2B5EF4-FFF2-40B4-BE49-F238E27FC236}">
                  <a16:creationId xmlns:a16="http://schemas.microsoft.com/office/drawing/2014/main" id="{74AEB45E-B965-46A0-8557-C646B5011B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921A22C7-11AD-44B0-9BF7-6E3A458215D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87049D82-B7F3-4192-8337-4BDB16955E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24A7FAD9-577C-4D2E-A3B5-C6D0A39D47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Content Placeholder 3">
            <a:extLst>
              <a:ext uri="{FF2B5EF4-FFF2-40B4-BE49-F238E27FC236}">
                <a16:creationId xmlns:a16="http://schemas.microsoft.com/office/drawing/2014/main" id="{F9994556-35A4-D698-A19A-134DD690B3FF}"/>
              </a:ext>
            </a:extLst>
          </p:cNvPr>
          <p:cNvSpPr>
            <a:spLocks noGrp="1"/>
          </p:cNvSpPr>
          <p:nvPr>
            <p:ph idx="1"/>
          </p:nvPr>
        </p:nvSpPr>
        <p:spPr>
          <a:xfrm>
            <a:off x="1179226" y="1666810"/>
            <a:ext cx="9833548" cy="3918145"/>
          </a:xfrm>
        </p:spPr>
        <p:txBody>
          <a:bodyPr>
            <a:normAutofit fontScale="92500" lnSpcReduction="10000"/>
          </a:bodyPr>
          <a:lstStyle/>
          <a:p>
            <a:r>
              <a:rPr lang="en-US" sz="2400" dirty="0" err="1">
                <a:solidFill>
                  <a:schemeClr val="tx2"/>
                </a:solidFill>
              </a:rPr>
              <a:t>Hvordan</a:t>
            </a:r>
            <a:r>
              <a:rPr lang="en-US" sz="2400" dirty="0">
                <a:solidFill>
                  <a:schemeClr val="tx2"/>
                </a:solidFill>
              </a:rPr>
              <a:t> ser de </a:t>
            </a:r>
            <a:r>
              <a:rPr lang="en-US" sz="2400" dirty="0" err="1">
                <a:solidFill>
                  <a:schemeClr val="tx2"/>
                </a:solidFill>
              </a:rPr>
              <a:t>ut</a:t>
            </a:r>
            <a:r>
              <a:rPr lang="en-US" sz="2400" dirty="0">
                <a:solidFill>
                  <a:schemeClr val="tx2"/>
                </a:solidFill>
              </a:rPr>
              <a:t>?</a:t>
            </a:r>
          </a:p>
          <a:p>
            <a:pPr marL="0" indent="0">
              <a:buNone/>
            </a:pPr>
            <a:endParaRPr lang="en-US" sz="2400" dirty="0">
              <a:solidFill>
                <a:schemeClr val="tx2"/>
              </a:solidFill>
            </a:endParaRPr>
          </a:p>
          <a:p>
            <a:r>
              <a:rPr lang="en-US" sz="2400" dirty="0" err="1">
                <a:solidFill>
                  <a:schemeClr val="tx2"/>
                </a:solidFill>
              </a:rPr>
              <a:t>Forteller</a:t>
            </a:r>
            <a:r>
              <a:rPr lang="en-US" sz="2400" dirty="0">
                <a:solidFill>
                  <a:schemeClr val="tx2"/>
                </a:solidFill>
              </a:rPr>
              <a:t> meg </a:t>
            </a:r>
            <a:r>
              <a:rPr lang="en-US" sz="2400" dirty="0" err="1">
                <a:solidFill>
                  <a:schemeClr val="tx2"/>
                </a:solidFill>
              </a:rPr>
              <a:t>litt</a:t>
            </a:r>
            <a:r>
              <a:rPr lang="en-US" sz="2400" dirty="0">
                <a:solidFill>
                  <a:schemeClr val="tx2"/>
                </a:solidFill>
              </a:rPr>
              <a:t> om </a:t>
            </a:r>
            <a:r>
              <a:rPr lang="en-US" sz="2400" dirty="0" err="1">
                <a:solidFill>
                  <a:schemeClr val="tx2"/>
                </a:solidFill>
              </a:rPr>
              <a:t>bygningen</a:t>
            </a:r>
            <a:r>
              <a:rPr lang="en-US" sz="2400" dirty="0">
                <a:solidFill>
                  <a:schemeClr val="tx2"/>
                </a:solidFill>
              </a:rPr>
              <a:t> / </a:t>
            </a:r>
            <a:r>
              <a:rPr lang="en-US" sz="2400" dirty="0" err="1">
                <a:solidFill>
                  <a:schemeClr val="tx2"/>
                </a:solidFill>
              </a:rPr>
              <a:t>hvor</a:t>
            </a:r>
            <a:r>
              <a:rPr lang="en-US" sz="2400" dirty="0">
                <a:solidFill>
                  <a:schemeClr val="tx2"/>
                </a:solidFill>
              </a:rPr>
              <a:t> er det? </a:t>
            </a:r>
          </a:p>
          <a:p>
            <a:pPr marL="0" indent="0">
              <a:buNone/>
            </a:pPr>
            <a:endParaRPr lang="en-US" sz="2400" dirty="0">
              <a:solidFill>
                <a:schemeClr val="tx2"/>
              </a:solidFill>
            </a:endParaRPr>
          </a:p>
          <a:p>
            <a:r>
              <a:rPr lang="en-US" sz="2400" dirty="0">
                <a:solidFill>
                  <a:schemeClr val="tx2"/>
                </a:solidFill>
              </a:rPr>
              <a:t>Kan du </a:t>
            </a:r>
            <a:r>
              <a:rPr lang="en-US" sz="2400" dirty="0" err="1">
                <a:solidFill>
                  <a:schemeClr val="tx2"/>
                </a:solidFill>
              </a:rPr>
              <a:t>beskriver</a:t>
            </a:r>
            <a:r>
              <a:rPr lang="en-US" sz="2400" dirty="0">
                <a:solidFill>
                  <a:schemeClr val="tx2"/>
                </a:solidFill>
              </a:rPr>
              <a:t> </a:t>
            </a:r>
            <a:r>
              <a:rPr lang="en-US" sz="2400" dirty="0" err="1">
                <a:solidFill>
                  <a:schemeClr val="tx2"/>
                </a:solidFill>
              </a:rPr>
              <a:t>kulturen</a:t>
            </a:r>
            <a:r>
              <a:rPr lang="en-US" sz="2400" dirty="0">
                <a:solidFill>
                  <a:schemeClr val="tx2"/>
                </a:solidFill>
              </a:rPr>
              <a:t>? </a:t>
            </a:r>
            <a:r>
              <a:rPr lang="en-US" sz="2400" dirty="0" err="1">
                <a:solidFill>
                  <a:schemeClr val="tx2"/>
                </a:solidFill>
              </a:rPr>
              <a:t>Regler</a:t>
            </a:r>
            <a:r>
              <a:rPr lang="en-US" sz="2400" dirty="0">
                <a:solidFill>
                  <a:schemeClr val="tx2"/>
                </a:solidFill>
              </a:rPr>
              <a:t>? (ink det </a:t>
            </a:r>
            <a:r>
              <a:rPr lang="en-US" sz="2400" dirty="0" err="1">
                <a:solidFill>
                  <a:schemeClr val="tx2"/>
                </a:solidFill>
              </a:rPr>
              <a:t>usagte</a:t>
            </a:r>
            <a:r>
              <a:rPr lang="en-US" sz="2400" dirty="0">
                <a:solidFill>
                  <a:schemeClr val="tx2"/>
                </a:solidFill>
              </a:rPr>
              <a:t>)</a:t>
            </a:r>
          </a:p>
          <a:p>
            <a:pPr marL="0" indent="0">
              <a:buNone/>
            </a:pPr>
            <a:endParaRPr lang="en-US" sz="2400" dirty="0">
              <a:solidFill>
                <a:schemeClr val="tx2"/>
              </a:solidFill>
            </a:endParaRPr>
          </a:p>
          <a:p>
            <a:r>
              <a:rPr lang="en-US" sz="2400" dirty="0" err="1">
                <a:solidFill>
                  <a:schemeClr val="tx2"/>
                </a:solidFill>
              </a:rPr>
              <a:t>Hvordan</a:t>
            </a:r>
            <a:r>
              <a:rPr lang="en-US" sz="2400" dirty="0">
                <a:solidFill>
                  <a:schemeClr val="tx2"/>
                </a:solidFill>
              </a:rPr>
              <a:t> </a:t>
            </a:r>
            <a:r>
              <a:rPr lang="en-US" sz="2400" dirty="0" err="1">
                <a:solidFill>
                  <a:schemeClr val="tx2"/>
                </a:solidFill>
              </a:rPr>
              <a:t>snakker</a:t>
            </a:r>
            <a:r>
              <a:rPr lang="en-US" sz="2400" dirty="0">
                <a:solidFill>
                  <a:schemeClr val="tx2"/>
                </a:solidFill>
              </a:rPr>
              <a:t> folk med </a:t>
            </a:r>
            <a:r>
              <a:rPr lang="en-US" sz="2400" dirty="0" err="1">
                <a:solidFill>
                  <a:schemeClr val="tx2"/>
                </a:solidFill>
              </a:rPr>
              <a:t>hverandre</a:t>
            </a:r>
            <a:r>
              <a:rPr lang="en-US" sz="2400" dirty="0">
                <a:solidFill>
                  <a:schemeClr val="tx2"/>
                </a:solidFill>
              </a:rPr>
              <a:t>?</a:t>
            </a:r>
          </a:p>
          <a:p>
            <a:pPr marL="0" indent="0">
              <a:buNone/>
            </a:pPr>
            <a:endParaRPr lang="en-US" sz="2400" dirty="0">
              <a:solidFill>
                <a:schemeClr val="tx2"/>
              </a:solidFill>
            </a:endParaRPr>
          </a:p>
          <a:p>
            <a:r>
              <a:rPr lang="en-US" sz="2400" dirty="0" err="1">
                <a:solidFill>
                  <a:schemeClr val="tx2"/>
                </a:solidFill>
              </a:rPr>
              <a:t>Hva</a:t>
            </a:r>
            <a:r>
              <a:rPr lang="en-US" sz="2400" dirty="0">
                <a:solidFill>
                  <a:schemeClr val="tx2"/>
                </a:solidFill>
              </a:rPr>
              <a:t> er </a:t>
            </a:r>
            <a:r>
              <a:rPr lang="en-US" sz="2400" dirty="0" err="1">
                <a:solidFill>
                  <a:schemeClr val="tx2"/>
                </a:solidFill>
              </a:rPr>
              <a:t>forskjellen</a:t>
            </a:r>
            <a:r>
              <a:rPr lang="en-US" sz="2400" dirty="0">
                <a:solidFill>
                  <a:schemeClr val="tx2"/>
                </a:solidFill>
              </a:rPr>
              <a:t> </a:t>
            </a:r>
            <a:r>
              <a:rPr lang="en-US" sz="2400" dirty="0" err="1">
                <a:solidFill>
                  <a:schemeClr val="tx2"/>
                </a:solidFill>
              </a:rPr>
              <a:t>mellom</a:t>
            </a:r>
            <a:r>
              <a:rPr lang="en-US" sz="2400" dirty="0">
                <a:solidFill>
                  <a:schemeClr val="tx2"/>
                </a:solidFill>
              </a:rPr>
              <a:t> </a:t>
            </a:r>
            <a:r>
              <a:rPr lang="en-US" sz="2400" dirty="0" err="1">
                <a:solidFill>
                  <a:schemeClr val="tx2"/>
                </a:solidFill>
              </a:rPr>
              <a:t>en</a:t>
            </a:r>
            <a:r>
              <a:rPr lang="en-US" sz="2400" dirty="0">
                <a:solidFill>
                  <a:schemeClr val="tx2"/>
                </a:solidFill>
              </a:rPr>
              <a:t> Recovery </a:t>
            </a:r>
            <a:r>
              <a:rPr lang="en-US" sz="2400" dirty="0" err="1">
                <a:solidFill>
                  <a:schemeClr val="tx2"/>
                </a:solidFill>
              </a:rPr>
              <a:t>orientert</a:t>
            </a:r>
            <a:r>
              <a:rPr lang="en-US" sz="2400" dirty="0">
                <a:solidFill>
                  <a:schemeClr val="tx2"/>
                </a:solidFill>
              </a:rPr>
              <a:t> </a:t>
            </a:r>
            <a:r>
              <a:rPr lang="en-US" sz="2400" dirty="0" err="1">
                <a:solidFill>
                  <a:schemeClr val="tx2"/>
                </a:solidFill>
              </a:rPr>
              <a:t>tjeneste</a:t>
            </a:r>
            <a:r>
              <a:rPr lang="en-US" sz="2400" dirty="0">
                <a:solidFill>
                  <a:schemeClr val="tx2"/>
                </a:solidFill>
              </a:rPr>
              <a:t> </a:t>
            </a:r>
            <a:r>
              <a:rPr lang="en-US" sz="2400" dirty="0" err="1">
                <a:solidFill>
                  <a:schemeClr val="tx2"/>
                </a:solidFill>
              </a:rPr>
              <a:t>og</a:t>
            </a:r>
            <a:r>
              <a:rPr lang="en-US" sz="2400" dirty="0">
                <a:solidFill>
                  <a:schemeClr val="tx2"/>
                </a:solidFill>
              </a:rPr>
              <a:t> det </a:t>
            </a:r>
            <a:r>
              <a:rPr lang="en-US" sz="2400" dirty="0" err="1">
                <a:solidFill>
                  <a:schemeClr val="tx2"/>
                </a:solidFill>
              </a:rPr>
              <a:t>som</a:t>
            </a:r>
            <a:r>
              <a:rPr lang="en-US" sz="2400" dirty="0">
                <a:solidFill>
                  <a:schemeClr val="tx2"/>
                </a:solidFill>
              </a:rPr>
              <a:t> vi </a:t>
            </a:r>
            <a:r>
              <a:rPr lang="en-US" sz="2400" dirty="0" err="1">
                <a:solidFill>
                  <a:schemeClr val="tx2"/>
                </a:solidFill>
              </a:rPr>
              <a:t>har</a:t>
            </a:r>
            <a:r>
              <a:rPr lang="en-US" sz="2400" dirty="0">
                <a:solidFill>
                  <a:schemeClr val="tx2"/>
                </a:solidFill>
              </a:rPr>
              <a:t> </a:t>
            </a:r>
            <a:r>
              <a:rPr lang="en-US" sz="2400" dirty="0" err="1">
                <a:solidFill>
                  <a:schemeClr val="tx2"/>
                </a:solidFill>
              </a:rPr>
              <a:t>i</a:t>
            </a:r>
            <a:r>
              <a:rPr lang="en-US" sz="2400" dirty="0">
                <a:solidFill>
                  <a:schemeClr val="tx2"/>
                </a:solidFill>
              </a:rPr>
              <a:t> Norge per </a:t>
            </a:r>
            <a:r>
              <a:rPr lang="en-US" sz="2400" dirty="0" err="1">
                <a:solidFill>
                  <a:schemeClr val="tx2"/>
                </a:solidFill>
              </a:rPr>
              <a:t>i</a:t>
            </a:r>
            <a:r>
              <a:rPr lang="en-US" sz="2400" dirty="0">
                <a:solidFill>
                  <a:schemeClr val="tx2"/>
                </a:solidFill>
              </a:rPr>
              <a:t> </a:t>
            </a:r>
            <a:r>
              <a:rPr lang="en-US" sz="2400" dirty="0" err="1">
                <a:solidFill>
                  <a:schemeClr val="tx2"/>
                </a:solidFill>
              </a:rPr>
              <a:t>dag</a:t>
            </a:r>
            <a:r>
              <a:rPr lang="en-US" sz="2400" dirty="0">
                <a:solidFill>
                  <a:schemeClr val="tx2"/>
                </a:solidFill>
              </a:rPr>
              <a:t>?</a:t>
            </a:r>
            <a:endParaRPr lang="nb-NO" sz="2400" dirty="0">
              <a:solidFill>
                <a:schemeClr val="tx2"/>
              </a:solidFill>
            </a:endParaRPr>
          </a:p>
        </p:txBody>
      </p:sp>
      <p:grpSp>
        <p:nvGrpSpPr>
          <p:cNvPr id="19" name="Group 18">
            <a:extLst>
              <a:ext uri="{FF2B5EF4-FFF2-40B4-BE49-F238E27FC236}">
                <a16:creationId xmlns:a16="http://schemas.microsoft.com/office/drawing/2014/main" id="{2A5C9C35-2375-49EB-B99C-17C87D42FE7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flipH="1">
            <a:off x="0" y="4682671"/>
            <a:ext cx="2898948" cy="2175328"/>
            <a:chOff x="-305" y="-1"/>
            <a:chExt cx="3832880" cy="2876136"/>
          </a:xfrm>
        </p:grpSpPr>
        <p:sp>
          <p:nvSpPr>
            <p:cNvPr id="20" name="Freeform: Shape 19">
              <a:extLst>
                <a:ext uri="{FF2B5EF4-FFF2-40B4-BE49-F238E27FC236}">
                  <a16:creationId xmlns:a16="http://schemas.microsoft.com/office/drawing/2014/main" id="{7BE7B8C5-3FC9-47E9-B555-AFCB849A41E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615B6EFE-6DC2-4A72-AC12-BCCC3638A6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AE8C1B65-6799-4DD1-B262-01901DA126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Shape 22">
              <a:extLst>
                <a:ext uri="{FF2B5EF4-FFF2-40B4-BE49-F238E27FC236}">
                  <a16:creationId xmlns:a16="http://schemas.microsoft.com/office/drawing/2014/main" id="{03829674-8FAF-4E90-9FB7-C6CE17839B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7705428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7742A528-B5BC-48B8-92DE-9C2B44451A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collage of people and a dog&#10;&#10;Description automatically generated with medium confidence">
            <a:extLst>
              <a:ext uri="{FF2B5EF4-FFF2-40B4-BE49-F238E27FC236}">
                <a16:creationId xmlns:a16="http://schemas.microsoft.com/office/drawing/2014/main" id="{33C13DFB-CCAD-AC47-B53C-FCC4F5031F49}"/>
              </a:ext>
            </a:extLst>
          </p:cNvPr>
          <p:cNvPicPr>
            <a:picLocks noChangeAspect="1"/>
          </p:cNvPicPr>
          <p:nvPr/>
        </p:nvPicPr>
        <p:blipFill rotWithShape="1">
          <a:blip r:embed="rId2">
            <a:extLst>
              <a:ext uri="{28A0092B-C50C-407E-A947-70E740481C1C}">
                <a14:useLocalDpi xmlns:a14="http://schemas.microsoft.com/office/drawing/2010/main" val="0"/>
              </a:ext>
            </a:extLst>
          </a:blip>
          <a:srcRect t="33327" b="23812"/>
          <a:stretch/>
        </p:blipFill>
        <p:spPr>
          <a:xfrm>
            <a:off x="1366347" y="433410"/>
            <a:ext cx="9459306" cy="5854700"/>
          </a:xfrm>
          <a:custGeom>
            <a:avLst/>
            <a:gdLst/>
            <a:ahLst/>
            <a:cxnLst/>
            <a:rect l="l" t="t" r="r" b="b"/>
            <a:pathLst>
              <a:path w="8500451" h="5783926">
                <a:moveTo>
                  <a:pt x="4814568" y="604"/>
                </a:moveTo>
                <a:cubicBezTo>
                  <a:pt x="5041344" y="3294"/>
                  <a:pt x="5267019" y="14348"/>
                  <a:pt x="5493575" y="21000"/>
                </a:cubicBezTo>
                <a:cubicBezTo>
                  <a:pt x="5987120" y="36130"/>
                  <a:pt x="6483273" y="35607"/>
                  <a:pt x="6977859" y="46564"/>
                </a:cubicBezTo>
                <a:cubicBezTo>
                  <a:pt x="7286195" y="53346"/>
                  <a:pt x="7590877" y="77867"/>
                  <a:pt x="7880953" y="154038"/>
                </a:cubicBezTo>
                <a:cubicBezTo>
                  <a:pt x="7921646" y="164993"/>
                  <a:pt x="7967557" y="167081"/>
                  <a:pt x="7998861" y="193166"/>
                </a:cubicBezTo>
                <a:cubicBezTo>
                  <a:pt x="8033815" y="222382"/>
                  <a:pt x="8019729" y="265163"/>
                  <a:pt x="7968600" y="273511"/>
                </a:cubicBezTo>
                <a:cubicBezTo>
                  <a:pt x="7903386" y="284466"/>
                  <a:pt x="7836607" y="287597"/>
                  <a:pt x="7764609" y="294901"/>
                </a:cubicBezTo>
                <a:cubicBezTo>
                  <a:pt x="7792260" y="335073"/>
                  <a:pt x="7859040" y="304814"/>
                  <a:pt x="7876257" y="354899"/>
                </a:cubicBezTo>
                <a:cubicBezTo>
                  <a:pt x="7799043" y="389332"/>
                  <a:pt x="7705656" y="366898"/>
                  <a:pt x="7631049" y="400810"/>
                </a:cubicBezTo>
                <a:cubicBezTo>
                  <a:pt x="7633137" y="424287"/>
                  <a:pt x="7649831" y="426374"/>
                  <a:pt x="7663396" y="432635"/>
                </a:cubicBezTo>
                <a:cubicBezTo>
                  <a:pt x="7676961" y="438373"/>
                  <a:pt x="7710871" y="430026"/>
                  <a:pt x="7696264" y="462894"/>
                </a:cubicBezTo>
                <a:cubicBezTo>
                  <a:pt x="7541315" y="482719"/>
                  <a:pt x="7393147" y="550021"/>
                  <a:pt x="7229849" y="540630"/>
                </a:cubicBezTo>
                <a:cubicBezTo>
                  <a:pt x="7431755" y="558890"/>
                  <a:pt x="7602355" y="633496"/>
                  <a:pt x="7780782" y="683059"/>
                </a:cubicBezTo>
                <a:cubicBezTo>
                  <a:pt x="7773479" y="741491"/>
                  <a:pt x="7701483" y="718014"/>
                  <a:pt x="7680613" y="759751"/>
                </a:cubicBezTo>
                <a:cubicBezTo>
                  <a:pt x="7794869" y="788967"/>
                  <a:pt x="7904429" y="823401"/>
                  <a:pt x="7998861" y="880789"/>
                </a:cubicBezTo>
                <a:cubicBezTo>
                  <a:pt x="8083901" y="932439"/>
                  <a:pt x="8164765" y="989306"/>
                  <a:pt x="8257111" y="1031566"/>
                </a:cubicBezTo>
                <a:cubicBezTo>
                  <a:pt x="8354150" y="1075912"/>
                  <a:pt x="8413103" y="1132779"/>
                  <a:pt x="8402148" y="1229819"/>
                </a:cubicBezTo>
                <a:cubicBezTo>
                  <a:pt x="8397452" y="1269468"/>
                  <a:pt x="8409973" y="1302859"/>
                  <a:pt x="8453275" y="1318510"/>
                </a:cubicBezTo>
                <a:cubicBezTo>
                  <a:pt x="8507013" y="1337814"/>
                  <a:pt x="8501275" y="1367029"/>
                  <a:pt x="8499187" y="1411897"/>
                </a:cubicBezTo>
                <a:cubicBezTo>
                  <a:pt x="8496056" y="1465634"/>
                  <a:pt x="8468406" y="1486504"/>
                  <a:pt x="8419885" y="1504764"/>
                </a:cubicBezTo>
                <a:cubicBezTo>
                  <a:pt x="8350497" y="1530327"/>
                  <a:pt x="8349975" y="1569978"/>
                  <a:pt x="8368237" y="1617454"/>
                </a:cubicBezTo>
                <a:cubicBezTo>
                  <a:pt x="8378149" y="1643540"/>
                  <a:pt x="8393278" y="1664409"/>
                  <a:pt x="8415713" y="1683712"/>
                </a:cubicBezTo>
                <a:cubicBezTo>
                  <a:pt x="8493448" y="1751014"/>
                  <a:pt x="8492927" y="1752056"/>
                  <a:pt x="8416755" y="1831880"/>
                </a:cubicBezTo>
                <a:cubicBezTo>
                  <a:pt x="8396408" y="1853269"/>
                  <a:pt x="8374496" y="1867356"/>
                  <a:pt x="8383888" y="1901790"/>
                </a:cubicBezTo>
                <a:cubicBezTo>
                  <a:pt x="8415713" y="2016046"/>
                  <a:pt x="8411538" y="2016046"/>
                  <a:pt x="8283717" y="2053609"/>
                </a:cubicBezTo>
                <a:cubicBezTo>
                  <a:pt x="8254501" y="2062479"/>
                  <a:pt x="8215373" y="2054653"/>
                  <a:pt x="8198678" y="2087521"/>
                </a:cubicBezTo>
                <a:cubicBezTo>
                  <a:pt x="8209113" y="2111521"/>
                  <a:pt x="8184591" y="2690625"/>
                  <a:pt x="8207547" y="2700017"/>
                </a:cubicBezTo>
                <a:cubicBezTo>
                  <a:pt x="8387017" y="2773578"/>
                  <a:pt x="8409451" y="2860184"/>
                  <a:pt x="8269632" y="2996352"/>
                </a:cubicBezTo>
                <a:cubicBezTo>
                  <a:pt x="8175722" y="3087653"/>
                  <a:pt x="8186677" y="3236864"/>
                  <a:pt x="8225807" y="3330251"/>
                </a:cubicBezTo>
                <a:cubicBezTo>
                  <a:pt x="8373452" y="3371467"/>
                  <a:pt x="8341107" y="3481027"/>
                  <a:pt x="8370845" y="3577023"/>
                </a:cubicBezTo>
                <a:cubicBezTo>
                  <a:pt x="8392757" y="3649020"/>
                  <a:pt x="8306673" y="3639107"/>
                  <a:pt x="8310847" y="3671976"/>
                </a:cubicBezTo>
                <a:cubicBezTo>
                  <a:pt x="8365105" y="3711626"/>
                  <a:pt x="8437624" y="3724148"/>
                  <a:pt x="8479884" y="3778406"/>
                </a:cubicBezTo>
                <a:cubicBezTo>
                  <a:pt x="8403713" y="3818056"/>
                  <a:pt x="8365105" y="3873880"/>
                  <a:pt x="8322845" y="3929703"/>
                </a:cubicBezTo>
                <a:cubicBezTo>
                  <a:pt x="8254501" y="4020482"/>
                  <a:pt x="8161635" y="4097174"/>
                  <a:pt x="8063031" y="4166563"/>
                </a:cubicBezTo>
                <a:cubicBezTo>
                  <a:pt x="8012947" y="4649674"/>
                  <a:pt x="7851215" y="5156783"/>
                  <a:pt x="7833475" y="5181825"/>
                </a:cubicBezTo>
                <a:cubicBezTo>
                  <a:pt x="7760436" y="5174520"/>
                  <a:pt x="7618528" y="5466682"/>
                  <a:pt x="7495403" y="5493812"/>
                </a:cubicBezTo>
                <a:cubicBezTo>
                  <a:pt x="7366017" y="5523550"/>
                  <a:pt x="5441925" y="5797973"/>
                  <a:pt x="5148199" y="5783364"/>
                </a:cubicBezTo>
                <a:cubicBezTo>
                  <a:pt x="3551743" y="5705628"/>
                  <a:pt x="3505310" y="5598155"/>
                  <a:pt x="3505310" y="5598155"/>
                </a:cubicBezTo>
                <a:cubicBezTo>
                  <a:pt x="3505310" y="5598155"/>
                  <a:pt x="3596089" y="5571548"/>
                  <a:pt x="3675390" y="5541287"/>
                </a:cubicBezTo>
                <a:cubicBezTo>
                  <a:pt x="3627392" y="5542853"/>
                  <a:pt x="3579395" y="5543896"/>
                  <a:pt x="3531919" y="5542331"/>
                </a:cubicBezTo>
                <a:cubicBezTo>
                  <a:pt x="3164108" y="5531375"/>
                  <a:pt x="3500093" y="5511028"/>
                  <a:pt x="3138022" y="5469291"/>
                </a:cubicBezTo>
                <a:cubicBezTo>
                  <a:pt x="2527092" y="5398860"/>
                  <a:pt x="2618913" y="5380598"/>
                  <a:pt x="2058068" y="5181825"/>
                </a:cubicBezTo>
                <a:cubicBezTo>
                  <a:pt x="2008504" y="5164086"/>
                  <a:pt x="1660519" y="5056613"/>
                  <a:pt x="1447659" y="5044613"/>
                </a:cubicBezTo>
                <a:cubicBezTo>
                  <a:pt x="1391313" y="5041483"/>
                  <a:pt x="1329751" y="5042527"/>
                  <a:pt x="1281230" y="4977311"/>
                </a:cubicBezTo>
                <a:cubicBezTo>
                  <a:pt x="1429920" y="4979399"/>
                  <a:pt x="1557741" y="4979399"/>
                  <a:pt x="1696518" y="4945487"/>
                </a:cubicBezTo>
                <a:cubicBezTo>
                  <a:pt x="1622434" y="4898532"/>
                  <a:pt x="1537394" y="4938705"/>
                  <a:pt x="1478440" y="4905836"/>
                </a:cubicBezTo>
                <a:cubicBezTo>
                  <a:pt x="1423138" y="4875577"/>
                  <a:pt x="1375140" y="4871404"/>
                  <a:pt x="1318795" y="4919401"/>
                </a:cubicBezTo>
                <a:cubicBezTo>
                  <a:pt x="1289578" y="4944443"/>
                  <a:pt x="1237928" y="4939747"/>
                  <a:pt x="1208190" y="4925140"/>
                </a:cubicBezTo>
                <a:cubicBezTo>
                  <a:pt x="1049066" y="4846360"/>
                  <a:pt x="1052718" y="4847404"/>
                  <a:pt x="875857" y="4867751"/>
                </a:cubicBezTo>
                <a:cubicBezTo>
                  <a:pt x="763166" y="4880272"/>
                  <a:pt x="648388" y="4902706"/>
                  <a:pt x="545088" y="4889141"/>
                </a:cubicBezTo>
                <a:cubicBezTo>
                  <a:pt x="532045" y="4859403"/>
                  <a:pt x="543522" y="4845839"/>
                  <a:pt x="558131" y="4841666"/>
                </a:cubicBezTo>
                <a:cubicBezTo>
                  <a:pt x="796034" y="4776973"/>
                  <a:pt x="840379" y="4702889"/>
                  <a:pt x="1081413" y="4662717"/>
                </a:cubicBezTo>
                <a:cubicBezTo>
                  <a:pt x="1099151" y="4617327"/>
                  <a:pt x="1011503" y="4609500"/>
                  <a:pt x="1052718" y="4564633"/>
                </a:cubicBezTo>
                <a:cubicBezTo>
                  <a:pt x="1127846" y="4529678"/>
                  <a:pt x="1216016" y="4570894"/>
                  <a:pt x="1290622" y="4525505"/>
                </a:cubicBezTo>
                <a:cubicBezTo>
                  <a:pt x="1277579" y="4493158"/>
                  <a:pt x="1214972" y="4516636"/>
                  <a:pt x="1217581" y="4482202"/>
                </a:cubicBezTo>
                <a:cubicBezTo>
                  <a:pt x="1220712" y="4442552"/>
                  <a:pt x="1264536" y="4448813"/>
                  <a:pt x="1294796" y="4451421"/>
                </a:cubicBezTo>
                <a:cubicBezTo>
                  <a:pt x="1441398" y="4464985"/>
                  <a:pt x="1568696" y="4390902"/>
                  <a:pt x="1709040" y="4365860"/>
                </a:cubicBezTo>
                <a:cubicBezTo>
                  <a:pt x="1559306" y="4303253"/>
                  <a:pt x="686474" y="4353338"/>
                  <a:pt x="530479" y="4334034"/>
                </a:cubicBezTo>
                <a:cubicBezTo>
                  <a:pt x="367182" y="4314210"/>
                  <a:pt x="107367" y="4261516"/>
                  <a:pt x="174146" y="4244821"/>
                </a:cubicBezTo>
                <a:cubicBezTo>
                  <a:pt x="249796" y="4225518"/>
                  <a:pt x="519524" y="3996484"/>
                  <a:pt x="596216" y="3986050"/>
                </a:cubicBezTo>
                <a:cubicBezTo>
                  <a:pt x="685430" y="3974050"/>
                  <a:pt x="703169" y="3957876"/>
                  <a:pt x="820554" y="3875967"/>
                </a:cubicBezTo>
                <a:cubicBezTo>
                  <a:pt x="897769" y="3822230"/>
                  <a:pt x="576391" y="3939094"/>
                  <a:pt x="451179" y="3901009"/>
                </a:cubicBezTo>
                <a:cubicBezTo>
                  <a:pt x="405268" y="3886923"/>
                  <a:pt x="729255" y="3738233"/>
                  <a:pt x="729255" y="3711105"/>
                </a:cubicBezTo>
                <a:cubicBezTo>
                  <a:pt x="729255" y="3682409"/>
                  <a:pt x="700038" y="3676150"/>
                  <a:pt x="672387" y="3676150"/>
                </a:cubicBezTo>
                <a:cubicBezTo>
                  <a:pt x="610824" y="3676150"/>
                  <a:pt x="629606" y="3651106"/>
                  <a:pt x="568043" y="3652673"/>
                </a:cubicBezTo>
                <a:cubicBezTo>
                  <a:pt x="748558" y="3580154"/>
                  <a:pt x="860205" y="3599458"/>
                  <a:pt x="1038632" y="3533198"/>
                </a:cubicBezTo>
                <a:cubicBezTo>
                  <a:pt x="1125760" y="3500852"/>
                  <a:pt x="817425" y="3393378"/>
                  <a:pt x="907160" y="3365206"/>
                </a:cubicBezTo>
                <a:cubicBezTo>
                  <a:pt x="941071" y="3354249"/>
                  <a:pt x="986461" y="3365727"/>
                  <a:pt x="1009938" y="3327120"/>
                </a:cubicBezTo>
                <a:cubicBezTo>
                  <a:pt x="972897" y="3296340"/>
                  <a:pt x="923855" y="3309904"/>
                  <a:pt x="886812" y="3322425"/>
                </a:cubicBezTo>
                <a:cubicBezTo>
                  <a:pt x="792381" y="3354772"/>
                  <a:pt x="799165" y="3346946"/>
                  <a:pt x="789773" y="3322947"/>
                </a:cubicBezTo>
                <a:cubicBezTo>
                  <a:pt x="758993" y="3241037"/>
                  <a:pt x="682822" y="3267123"/>
                  <a:pt x="615520" y="3280688"/>
                </a:cubicBezTo>
                <a:cubicBezTo>
                  <a:pt x="412050" y="3321382"/>
                  <a:pt x="205972" y="3309904"/>
                  <a:pt x="3023" y="3351641"/>
                </a:cubicBezTo>
                <a:cubicBezTo>
                  <a:pt x="-18888" y="3356337"/>
                  <a:pt x="83890" y="3262949"/>
                  <a:pt x="132409" y="3251993"/>
                </a:cubicBezTo>
                <a:cubicBezTo>
                  <a:pt x="185103" y="3240516"/>
                  <a:pt x="249796" y="3248863"/>
                  <a:pt x="287360" y="3195127"/>
                </a:cubicBezTo>
                <a:cubicBezTo>
                  <a:pt x="220579" y="3181561"/>
                  <a:pt x="144410" y="3207647"/>
                  <a:pt x="78150" y="3164866"/>
                </a:cubicBezTo>
                <a:cubicBezTo>
                  <a:pt x="225276" y="3105913"/>
                  <a:pt x="371878" y="3107999"/>
                  <a:pt x="498655" y="3069914"/>
                </a:cubicBezTo>
                <a:cubicBezTo>
                  <a:pt x="510133" y="2999483"/>
                  <a:pt x="426658" y="3025046"/>
                  <a:pt x="396399" y="2984874"/>
                </a:cubicBezTo>
                <a:cubicBezTo>
                  <a:pt x="1351140" y="2916007"/>
                  <a:pt x="817946" y="2712537"/>
                  <a:pt x="658822" y="2601411"/>
                </a:cubicBezTo>
                <a:cubicBezTo>
                  <a:pt x="605607" y="2564370"/>
                  <a:pt x="1164888" y="2388551"/>
                  <a:pt x="1183148" y="2383856"/>
                </a:cubicBezTo>
                <a:cubicBezTo>
                  <a:pt x="1229581" y="2372900"/>
                  <a:pt x="1413747" y="2380725"/>
                  <a:pt x="1451311" y="2366639"/>
                </a:cubicBezTo>
                <a:cubicBezTo>
                  <a:pt x="1499309" y="2348901"/>
                  <a:pt x="1340706" y="2318120"/>
                  <a:pt x="1376184" y="2296729"/>
                </a:cubicBezTo>
                <a:cubicBezTo>
                  <a:pt x="1625043" y="2145953"/>
                  <a:pt x="1642780" y="1919006"/>
                  <a:pt x="1572870" y="1902834"/>
                </a:cubicBezTo>
                <a:cubicBezTo>
                  <a:pt x="1500353" y="1886138"/>
                  <a:pt x="1429399" y="1899181"/>
                  <a:pt x="1362097" y="1926311"/>
                </a:cubicBezTo>
                <a:cubicBezTo>
                  <a:pt x="1252536" y="1970656"/>
                  <a:pt x="493960" y="1907528"/>
                  <a:pt x="281620" y="1943006"/>
                </a:cubicBezTo>
                <a:cubicBezTo>
                  <a:pt x="249274" y="1948223"/>
                  <a:pt x="205451" y="1971700"/>
                  <a:pt x="174669" y="1927876"/>
                </a:cubicBezTo>
                <a:cubicBezTo>
                  <a:pt x="393269" y="1785969"/>
                  <a:pt x="673952" y="1826663"/>
                  <a:pt x="918115" y="1730145"/>
                </a:cubicBezTo>
                <a:cubicBezTo>
                  <a:pt x="822119" y="1663886"/>
                  <a:pt x="724558" y="1667017"/>
                  <a:pt x="624389" y="1676929"/>
                </a:cubicBezTo>
                <a:cubicBezTo>
                  <a:pt x="598304" y="1679538"/>
                  <a:pt x="562826" y="1683190"/>
                  <a:pt x="556565" y="1655539"/>
                </a:cubicBezTo>
                <a:cubicBezTo>
                  <a:pt x="548739" y="1620584"/>
                  <a:pt x="590999" y="1614323"/>
                  <a:pt x="618650" y="1600237"/>
                </a:cubicBezTo>
                <a:cubicBezTo>
                  <a:pt x="660909" y="1578325"/>
                  <a:pt x="723515" y="1604410"/>
                  <a:pt x="775165" y="1544413"/>
                </a:cubicBezTo>
                <a:cubicBezTo>
                  <a:pt x="618650" y="1558500"/>
                  <a:pt x="486656" y="1583021"/>
                  <a:pt x="348401" y="1624758"/>
                </a:cubicBezTo>
                <a:cubicBezTo>
                  <a:pt x="360400" y="1587717"/>
                  <a:pt x="402137" y="1570499"/>
                  <a:pt x="378660" y="1539719"/>
                </a:cubicBezTo>
                <a:cubicBezTo>
                  <a:pt x="360922" y="1516763"/>
                  <a:pt x="310316" y="1505806"/>
                  <a:pt x="336402" y="1463025"/>
                </a:cubicBezTo>
                <a:cubicBezTo>
                  <a:pt x="409963" y="1417636"/>
                  <a:pt x="514307" y="1429636"/>
                  <a:pt x="576913" y="1364421"/>
                </a:cubicBezTo>
                <a:cubicBezTo>
                  <a:pt x="665605" y="1271556"/>
                  <a:pt x="803338" y="1239731"/>
                  <a:pt x="911856" y="1171908"/>
                </a:cubicBezTo>
                <a:cubicBezTo>
                  <a:pt x="947853" y="1149995"/>
                  <a:pt x="1184192" y="1073303"/>
                  <a:pt x="1247841" y="1048782"/>
                </a:cubicBezTo>
                <a:cubicBezTo>
                  <a:pt x="1336532" y="1014349"/>
                  <a:pt x="1437746" y="1002349"/>
                  <a:pt x="1524872" y="939221"/>
                </a:cubicBezTo>
                <a:cubicBezTo>
                  <a:pt x="1439310" y="926178"/>
                  <a:pt x="1369923" y="985133"/>
                  <a:pt x="1267145" y="956439"/>
                </a:cubicBezTo>
                <a:cubicBezTo>
                  <a:pt x="1429920" y="895398"/>
                  <a:pt x="1579131" y="867746"/>
                  <a:pt x="1697039" y="783749"/>
                </a:cubicBezTo>
                <a:cubicBezTo>
                  <a:pt x="1711648" y="773315"/>
                  <a:pt x="1740342" y="776446"/>
                  <a:pt x="1762255" y="772794"/>
                </a:cubicBezTo>
                <a:cubicBezTo>
                  <a:pt x="1992852" y="735752"/>
                  <a:pt x="2224495" y="704449"/>
                  <a:pt x="2452486" y="650712"/>
                </a:cubicBezTo>
                <a:cubicBezTo>
                  <a:pt x="2504136" y="638191"/>
                  <a:pt x="2595436" y="635061"/>
                  <a:pt x="2586045" y="590193"/>
                </a:cubicBezTo>
                <a:cubicBezTo>
                  <a:pt x="2571959" y="522891"/>
                  <a:pt x="2486919" y="570889"/>
                  <a:pt x="2432138" y="577150"/>
                </a:cubicBezTo>
                <a:cubicBezTo>
                  <a:pt x="2262059" y="597497"/>
                  <a:pt x="2091979" y="632974"/>
                  <a:pt x="1919291" y="613149"/>
                </a:cubicBezTo>
                <a:cubicBezTo>
                  <a:pt x="2035633" y="588107"/>
                  <a:pt x="2151455" y="562542"/>
                  <a:pt x="2267799" y="537499"/>
                </a:cubicBezTo>
                <a:cubicBezTo>
                  <a:pt x="2134238" y="546368"/>
                  <a:pt x="2017896" y="487936"/>
                  <a:pt x="1887988" y="514022"/>
                </a:cubicBezTo>
                <a:cubicBezTo>
                  <a:pt x="1846250" y="522370"/>
                  <a:pt x="1802427" y="495762"/>
                  <a:pt x="1798252" y="454546"/>
                </a:cubicBezTo>
                <a:cubicBezTo>
                  <a:pt x="1793557" y="421678"/>
                  <a:pt x="1832686" y="407071"/>
                  <a:pt x="1862424" y="396636"/>
                </a:cubicBezTo>
                <a:cubicBezTo>
                  <a:pt x="1938595" y="370028"/>
                  <a:pt x="1999113" y="291250"/>
                  <a:pt x="2096675" y="332987"/>
                </a:cubicBezTo>
                <a:cubicBezTo>
                  <a:pt x="2158237" y="267250"/>
                  <a:pt x="2256320" y="256816"/>
                  <a:pt x="2335621" y="239600"/>
                </a:cubicBezTo>
                <a:cubicBezTo>
                  <a:pt x="2588654" y="185341"/>
                  <a:pt x="2845338" y="143081"/>
                  <a:pt x="3102023" y="107082"/>
                </a:cubicBezTo>
                <a:cubicBezTo>
                  <a:pt x="3270538" y="83605"/>
                  <a:pt x="3444270" y="93518"/>
                  <a:pt x="3611219" y="63780"/>
                </a:cubicBezTo>
                <a:cubicBezTo>
                  <a:pt x="3937814" y="5869"/>
                  <a:pt x="4262322" y="7436"/>
                  <a:pt x="4587352" y="1175"/>
                </a:cubicBezTo>
                <a:cubicBezTo>
                  <a:pt x="4663262" y="-260"/>
                  <a:pt x="4738976" y="-293"/>
                  <a:pt x="4814568" y="604"/>
                </a:cubicBezTo>
                <a:close/>
              </a:path>
            </a:pathLst>
          </a:custGeom>
        </p:spPr>
      </p:pic>
    </p:spTree>
    <p:extLst>
      <p:ext uri="{BB962C8B-B14F-4D97-AF65-F5344CB8AC3E}">
        <p14:creationId xmlns:p14="http://schemas.microsoft.com/office/powerpoint/2010/main" val="8555477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a:extLst>
              <a:ext uri="{FF2B5EF4-FFF2-40B4-BE49-F238E27FC236}">
                <a16:creationId xmlns:a16="http://schemas.microsoft.com/office/drawing/2014/main" id="{BFE9CEC9-9238-E24C-A15A-BD1213090D0D}"/>
              </a:ext>
            </a:extLst>
          </p:cNvPr>
          <p:cNvSpPr>
            <a:spLocks noGrp="1"/>
          </p:cNvSpPr>
          <p:nvPr>
            <p:ph type="sldNum" sz="quarter" idx="12"/>
          </p:nvPr>
        </p:nvSpPr>
        <p:spPr/>
        <p:txBody>
          <a:bodyPr/>
          <a:lstStyle/>
          <a:p>
            <a:fld id="{04260D4A-DEC1-45DD-8AB2-A3349BAAA59E}" type="slidenum">
              <a:rPr lang="en-US" smtClean="0"/>
              <a:pPr/>
              <a:t>24</a:t>
            </a:fld>
            <a:endParaRPr lang="en-US"/>
          </a:p>
        </p:txBody>
      </p:sp>
      <p:sp>
        <p:nvSpPr>
          <p:cNvPr id="3" name="Plassholder for tekst 2">
            <a:extLst>
              <a:ext uri="{FF2B5EF4-FFF2-40B4-BE49-F238E27FC236}">
                <a16:creationId xmlns:a16="http://schemas.microsoft.com/office/drawing/2014/main" id="{3A9C18C5-6EDC-3941-9CCC-FB4B09CDFA6C}"/>
              </a:ext>
            </a:extLst>
          </p:cNvPr>
          <p:cNvSpPr>
            <a:spLocks noGrp="1"/>
          </p:cNvSpPr>
          <p:nvPr>
            <p:ph type="body" sz="quarter" idx="13"/>
          </p:nvPr>
        </p:nvSpPr>
        <p:spPr/>
        <p:txBody>
          <a:bodyPr/>
          <a:lstStyle/>
          <a:p>
            <a:r>
              <a:rPr lang="nb-NO" dirty="0"/>
              <a:t>Tjenester i basert i menneskerettighetene</a:t>
            </a:r>
          </a:p>
        </p:txBody>
      </p:sp>
      <p:sp>
        <p:nvSpPr>
          <p:cNvPr id="4" name="Plassholder for innhold 3">
            <a:extLst>
              <a:ext uri="{FF2B5EF4-FFF2-40B4-BE49-F238E27FC236}">
                <a16:creationId xmlns:a16="http://schemas.microsoft.com/office/drawing/2014/main" id="{2432B68A-E827-DF4E-A230-0BD85C255B3E}"/>
              </a:ext>
            </a:extLst>
          </p:cNvPr>
          <p:cNvSpPr>
            <a:spLocks noGrp="1"/>
          </p:cNvSpPr>
          <p:nvPr>
            <p:ph sz="quarter" idx="14"/>
          </p:nvPr>
        </p:nvSpPr>
        <p:spPr/>
        <p:txBody>
          <a:bodyPr/>
          <a:lstStyle/>
          <a:p>
            <a:pPr marL="0" indent="0">
              <a:buNone/>
            </a:pPr>
            <a:r>
              <a:rPr lang="nb-NO" dirty="0"/>
              <a:t>Fem kjerne-prinsipper tjenestene må oppfylle:</a:t>
            </a:r>
          </a:p>
          <a:p>
            <a:r>
              <a:rPr lang="nb-NO" dirty="0"/>
              <a:t>Respekt for rettslig handleevne</a:t>
            </a:r>
          </a:p>
          <a:p>
            <a:r>
              <a:rPr lang="nb-NO" dirty="0"/>
              <a:t>Ikke tvangsbasert praksis</a:t>
            </a:r>
          </a:p>
          <a:p>
            <a:r>
              <a:rPr lang="nb-NO" dirty="0"/>
              <a:t>Deltagelse og medvirkning</a:t>
            </a:r>
          </a:p>
          <a:p>
            <a:r>
              <a:rPr lang="nb-NO" dirty="0"/>
              <a:t>Inkludering i samfunnet</a:t>
            </a:r>
          </a:p>
          <a:p>
            <a:r>
              <a:rPr lang="nb-NO" dirty="0" err="1"/>
              <a:t>Recovery</a:t>
            </a:r>
            <a:r>
              <a:rPr lang="nb-NO" dirty="0"/>
              <a:t> og personsentrert praksis</a:t>
            </a:r>
          </a:p>
          <a:p>
            <a:endParaRPr lang="nb-NO" dirty="0"/>
          </a:p>
          <a:p>
            <a:endParaRPr lang="nb-NO" dirty="0"/>
          </a:p>
        </p:txBody>
      </p:sp>
      <p:sp>
        <p:nvSpPr>
          <p:cNvPr id="5" name="Tittel 4">
            <a:extLst>
              <a:ext uri="{FF2B5EF4-FFF2-40B4-BE49-F238E27FC236}">
                <a16:creationId xmlns:a16="http://schemas.microsoft.com/office/drawing/2014/main" id="{3B1C1983-CE84-A046-A5EC-4D3D9310432F}"/>
              </a:ext>
            </a:extLst>
          </p:cNvPr>
          <p:cNvSpPr>
            <a:spLocks noGrp="1"/>
          </p:cNvSpPr>
          <p:nvPr>
            <p:ph type="title"/>
          </p:nvPr>
        </p:nvSpPr>
        <p:spPr/>
        <p:txBody>
          <a:bodyPr/>
          <a:lstStyle/>
          <a:p>
            <a:r>
              <a:rPr lang="nb-NO" dirty="0"/>
              <a:t>Veileder i samfunnsbaserte psykiske helsetjenester</a:t>
            </a:r>
          </a:p>
        </p:txBody>
      </p:sp>
      <p:pic>
        <p:nvPicPr>
          <p:cNvPr id="6" name="Picture 5">
            <a:extLst>
              <a:ext uri="{FF2B5EF4-FFF2-40B4-BE49-F238E27FC236}">
                <a16:creationId xmlns:a16="http://schemas.microsoft.com/office/drawing/2014/main" id="{413E02A2-E633-8926-F2AF-DFEE855E3BE0}"/>
              </a:ext>
            </a:extLst>
          </p:cNvPr>
          <p:cNvPicPr>
            <a:picLocks noChangeAspect="1"/>
          </p:cNvPicPr>
          <p:nvPr/>
        </p:nvPicPr>
        <p:blipFill>
          <a:blip r:embed="rId2"/>
          <a:stretch>
            <a:fillRect/>
          </a:stretch>
        </p:blipFill>
        <p:spPr>
          <a:xfrm>
            <a:off x="7202129" y="1879390"/>
            <a:ext cx="3809999" cy="2787649"/>
          </a:xfrm>
          <a:prstGeom prst="rect">
            <a:avLst/>
          </a:prstGeom>
        </p:spPr>
      </p:pic>
    </p:spTree>
    <p:extLst>
      <p:ext uri="{BB962C8B-B14F-4D97-AF65-F5344CB8AC3E}">
        <p14:creationId xmlns:p14="http://schemas.microsoft.com/office/powerpoint/2010/main" val="13634015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A189A4-6E38-E9CC-88B7-A0F8AFDA0E99}"/>
              </a:ext>
            </a:extLst>
          </p:cNvPr>
          <p:cNvSpPr>
            <a:spLocks noGrp="1"/>
          </p:cNvSpPr>
          <p:nvPr>
            <p:ph type="sldNum" sz="quarter" idx="12"/>
          </p:nvPr>
        </p:nvSpPr>
        <p:spPr/>
        <p:txBody>
          <a:bodyPr/>
          <a:lstStyle/>
          <a:p>
            <a:fld id="{04260D4A-DEC1-45DD-8AB2-A3349BAAA59E}" type="slidenum">
              <a:rPr lang="en-US" smtClean="0"/>
              <a:pPr/>
              <a:t>25</a:t>
            </a:fld>
            <a:endParaRPr lang="en-US"/>
          </a:p>
        </p:txBody>
      </p:sp>
      <p:sp>
        <p:nvSpPr>
          <p:cNvPr id="4" name="Content Placeholder 3">
            <a:extLst>
              <a:ext uri="{FF2B5EF4-FFF2-40B4-BE49-F238E27FC236}">
                <a16:creationId xmlns:a16="http://schemas.microsoft.com/office/drawing/2014/main" id="{DE49A95B-731A-BB88-1B0F-D3B490EA50F6}"/>
              </a:ext>
            </a:extLst>
          </p:cNvPr>
          <p:cNvSpPr>
            <a:spLocks noGrp="1"/>
          </p:cNvSpPr>
          <p:nvPr>
            <p:ph sz="quarter" idx="14"/>
          </p:nvPr>
        </p:nvSpPr>
        <p:spPr>
          <a:xfrm>
            <a:off x="508794" y="850788"/>
            <a:ext cx="11174412" cy="4500000"/>
          </a:xfrm>
        </p:spPr>
        <p:txBody>
          <a:bodyPr/>
          <a:lstStyle/>
          <a:p>
            <a:pPr marL="0" indent="0" algn="ctr">
              <a:buNone/>
            </a:pPr>
            <a:endParaRPr lang="nb-NO" dirty="0"/>
          </a:p>
          <a:p>
            <a:pPr marL="0" indent="0" algn="ctr">
              <a:buNone/>
            </a:pPr>
            <a:endParaRPr lang="nb-NO" dirty="0"/>
          </a:p>
          <a:p>
            <a:pPr algn="ctr"/>
            <a:r>
              <a:rPr lang="nb-NO" dirty="0"/>
              <a:t>Har vi som mennesker alltid den </a:t>
            </a:r>
            <a:r>
              <a:rPr lang="nb-NO" b="1" i="1" dirty="0"/>
              <a:t>evnen</a:t>
            </a:r>
            <a:r>
              <a:rPr lang="nb-NO" dirty="0"/>
              <a:t> for å bestemme selv?</a:t>
            </a:r>
          </a:p>
          <a:p>
            <a:pPr algn="ctr"/>
            <a:endParaRPr lang="nb-NO" dirty="0"/>
          </a:p>
          <a:p>
            <a:pPr algn="ctr"/>
            <a:r>
              <a:rPr lang="nb-NO" dirty="0"/>
              <a:t>Trenger vi støtte inni mellom?</a:t>
            </a:r>
          </a:p>
          <a:p>
            <a:pPr algn="ctr"/>
            <a:endParaRPr lang="nb-NO" dirty="0"/>
          </a:p>
          <a:p>
            <a:pPr algn="ctr"/>
            <a:r>
              <a:rPr lang="nb-NO" dirty="0"/>
              <a:t>Hva med retten for å bestemme selv?</a:t>
            </a:r>
          </a:p>
          <a:p>
            <a:pPr algn="ctr"/>
            <a:endParaRPr lang="nb-NO" dirty="0"/>
          </a:p>
        </p:txBody>
      </p:sp>
    </p:spTree>
    <p:extLst>
      <p:ext uri="{BB962C8B-B14F-4D97-AF65-F5344CB8AC3E}">
        <p14:creationId xmlns:p14="http://schemas.microsoft.com/office/powerpoint/2010/main" val="1199218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C24C39-3628-5E42-8A90-58819C03DD43}"/>
              </a:ext>
            </a:extLst>
          </p:cNvPr>
          <p:cNvSpPr>
            <a:spLocks noGrp="1"/>
          </p:cNvSpPr>
          <p:nvPr>
            <p:ph type="sldNum" sz="quarter" idx="12"/>
          </p:nvPr>
        </p:nvSpPr>
        <p:spPr/>
        <p:txBody>
          <a:bodyPr/>
          <a:lstStyle/>
          <a:p>
            <a:fld id="{04260D4A-DEC1-45DD-8AB2-A3349BAAA59E}" type="slidenum">
              <a:rPr lang="en-US" smtClean="0"/>
              <a:pPr/>
              <a:t>26</a:t>
            </a:fld>
            <a:endParaRPr lang="en-US"/>
          </a:p>
        </p:txBody>
      </p:sp>
      <p:sp>
        <p:nvSpPr>
          <p:cNvPr id="4" name="Content Placeholder 3">
            <a:extLst>
              <a:ext uri="{FF2B5EF4-FFF2-40B4-BE49-F238E27FC236}">
                <a16:creationId xmlns:a16="http://schemas.microsoft.com/office/drawing/2014/main" id="{016A50CC-DB75-0944-A311-B4F5C0F2C9DF}"/>
              </a:ext>
            </a:extLst>
          </p:cNvPr>
          <p:cNvSpPr>
            <a:spLocks noGrp="1"/>
          </p:cNvSpPr>
          <p:nvPr>
            <p:ph sz="quarter" idx="14"/>
          </p:nvPr>
        </p:nvSpPr>
        <p:spPr/>
        <p:txBody>
          <a:bodyPr/>
          <a:lstStyle/>
          <a:p>
            <a:pPr marL="0" indent="0">
              <a:buNone/>
            </a:pPr>
            <a:r>
              <a:rPr lang="en-US" dirty="0" err="1"/>
              <a:t>Står</a:t>
            </a:r>
            <a:r>
              <a:rPr lang="en-US" dirty="0"/>
              <a:t> </a:t>
            </a:r>
            <a:r>
              <a:rPr lang="en-US" dirty="0" err="1"/>
              <a:t>i</a:t>
            </a:r>
            <a:r>
              <a:rPr lang="en-US" dirty="0"/>
              <a:t> </a:t>
            </a:r>
            <a:r>
              <a:rPr lang="en-US" dirty="0" err="1"/>
              <a:t>motsetning</a:t>
            </a:r>
            <a:r>
              <a:rPr lang="en-US" dirty="0"/>
              <a:t> </a:t>
            </a:r>
            <a:r>
              <a:rPr lang="en-US" dirty="0" err="1"/>
              <a:t>til</a:t>
            </a:r>
            <a:r>
              <a:rPr lang="en-US" dirty="0"/>
              <a:t> </a:t>
            </a:r>
            <a:r>
              <a:rPr lang="en-US" dirty="0" err="1"/>
              <a:t>overformynderi</a:t>
            </a:r>
            <a:r>
              <a:rPr lang="en-US" dirty="0"/>
              <a:t> </a:t>
            </a:r>
            <a:r>
              <a:rPr lang="en-US" dirty="0" err="1"/>
              <a:t>eller</a:t>
            </a:r>
            <a:r>
              <a:rPr lang="en-US" dirty="0"/>
              <a:t> </a:t>
            </a:r>
            <a:r>
              <a:rPr lang="en-US" dirty="0" err="1"/>
              <a:t>beslutningstaking</a:t>
            </a:r>
            <a:r>
              <a:rPr lang="en-US" dirty="0"/>
              <a:t> </a:t>
            </a:r>
            <a:r>
              <a:rPr lang="en-US" dirty="0" err="1"/>
              <a:t>fra</a:t>
            </a:r>
            <a:r>
              <a:rPr lang="en-US" dirty="0"/>
              <a:t> </a:t>
            </a:r>
            <a:r>
              <a:rPr lang="en-US" dirty="0" err="1"/>
              <a:t>tredjeparter</a:t>
            </a:r>
            <a:endParaRPr lang="en-US" dirty="0"/>
          </a:p>
          <a:p>
            <a:r>
              <a:rPr lang="en-US" dirty="0" err="1"/>
              <a:t>Skiftet</a:t>
            </a:r>
            <a:r>
              <a:rPr lang="en-US" dirty="0"/>
              <a:t> </a:t>
            </a:r>
            <a:r>
              <a:rPr lang="en-US" dirty="0" err="1"/>
              <a:t>fra</a:t>
            </a:r>
            <a:r>
              <a:rPr lang="en-US" dirty="0"/>
              <a:t> </a:t>
            </a:r>
            <a:r>
              <a:rPr lang="en-US" dirty="0" err="1"/>
              <a:t>beslutningstaking</a:t>
            </a:r>
            <a:r>
              <a:rPr lang="en-US" dirty="0"/>
              <a:t> </a:t>
            </a:r>
            <a:r>
              <a:rPr lang="en-US" dirty="0" err="1"/>
              <a:t>ovenfra</a:t>
            </a:r>
            <a:r>
              <a:rPr lang="en-US" dirty="0"/>
              <a:t> </a:t>
            </a:r>
            <a:r>
              <a:rPr lang="en-US" dirty="0" err="1"/>
              <a:t>basert</a:t>
            </a:r>
            <a:r>
              <a:rPr lang="en-US" dirty="0"/>
              <a:t> </a:t>
            </a:r>
            <a:r>
              <a:rPr lang="en-US" dirty="0" err="1"/>
              <a:t>på</a:t>
            </a:r>
            <a:r>
              <a:rPr lang="en-US" dirty="0"/>
              <a:t> </a:t>
            </a:r>
            <a:r>
              <a:rPr lang="en-US" dirty="0" err="1"/>
              <a:t>hva</a:t>
            </a:r>
            <a:r>
              <a:rPr lang="en-US" dirty="0"/>
              <a:t> </a:t>
            </a:r>
            <a:r>
              <a:rPr lang="en-US" dirty="0" err="1"/>
              <a:t>som</a:t>
            </a:r>
            <a:r>
              <a:rPr lang="en-US" dirty="0"/>
              <a:t> </a:t>
            </a:r>
            <a:r>
              <a:rPr lang="en-US" dirty="0" err="1"/>
              <a:t>anses</a:t>
            </a:r>
            <a:r>
              <a:rPr lang="en-US" dirty="0"/>
              <a:t> </a:t>
            </a:r>
            <a:r>
              <a:rPr lang="en-US" dirty="0" err="1"/>
              <a:t>som</a:t>
            </a:r>
            <a:r>
              <a:rPr lang="en-US" dirty="0"/>
              <a:t> «</a:t>
            </a:r>
            <a:r>
              <a:rPr lang="en-US" dirty="0" err="1"/>
              <a:t>personens</a:t>
            </a:r>
            <a:r>
              <a:rPr lang="en-US" dirty="0"/>
              <a:t> </a:t>
            </a:r>
            <a:r>
              <a:rPr lang="en-US" dirty="0" err="1"/>
              <a:t>beste</a:t>
            </a:r>
            <a:r>
              <a:rPr lang="en-US" dirty="0"/>
              <a:t>», </a:t>
            </a:r>
            <a:r>
              <a:rPr lang="en-US" b="1" dirty="0" err="1"/>
              <a:t>til</a:t>
            </a:r>
            <a:r>
              <a:rPr lang="en-US" b="1" dirty="0"/>
              <a:t> </a:t>
            </a:r>
            <a:r>
              <a:rPr lang="en-US" b="1" dirty="0" err="1"/>
              <a:t>støtte</a:t>
            </a:r>
            <a:r>
              <a:rPr lang="en-US" b="1" dirty="0"/>
              <a:t> </a:t>
            </a:r>
            <a:r>
              <a:rPr lang="en-US" b="1" dirty="0" err="1"/>
              <a:t>til</a:t>
            </a:r>
            <a:r>
              <a:rPr lang="en-US" b="1" dirty="0"/>
              <a:t> </a:t>
            </a:r>
            <a:r>
              <a:rPr lang="en-US" b="1" dirty="0" err="1"/>
              <a:t>beslutninger</a:t>
            </a:r>
            <a:r>
              <a:rPr lang="en-US" b="1" dirty="0"/>
              <a:t> </a:t>
            </a:r>
            <a:r>
              <a:rPr lang="en-US" b="1" dirty="0" err="1"/>
              <a:t>fundert</a:t>
            </a:r>
            <a:r>
              <a:rPr lang="en-US" b="1" dirty="0"/>
              <a:t> </a:t>
            </a:r>
            <a:r>
              <a:rPr lang="en-US" b="1" dirty="0" err="1"/>
              <a:t>i</a:t>
            </a:r>
            <a:r>
              <a:rPr lang="en-US" b="1" dirty="0"/>
              <a:t> </a:t>
            </a:r>
            <a:r>
              <a:rPr lang="en-US" b="1" dirty="0" err="1"/>
              <a:t>personens</a:t>
            </a:r>
            <a:r>
              <a:rPr lang="en-US" b="1" dirty="0"/>
              <a:t> </a:t>
            </a:r>
            <a:r>
              <a:rPr lang="en-US" b="1" dirty="0" err="1"/>
              <a:t>vilje</a:t>
            </a:r>
            <a:r>
              <a:rPr lang="en-US" b="1" dirty="0"/>
              <a:t>, </a:t>
            </a:r>
            <a:r>
              <a:rPr lang="en-US" b="1" dirty="0" err="1"/>
              <a:t>ønske</a:t>
            </a:r>
            <a:r>
              <a:rPr lang="en-US" b="1" dirty="0"/>
              <a:t> </a:t>
            </a:r>
            <a:r>
              <a:rPr lang="en-US" b="1" dirty="0" err="1"/>
              <a:t>og</a:t>
            </a:r>
            <a:r>
              <a:rPr lang="en-US" b="1" dirty="0"/>
              <a:t> </a:t>
            </a:r>
            <a:r>
              <a:rPr lang="en-US" b="1" dirty="0" err="1"/>
              <a:t>verdier</a:t>
            </a:r>
            <a:endParaRPr lang="en-US" b="1" dirty="0"/>
          </a:p>
          <a:p>
            <a:r>
              <a:rPr lang="en-US" dirty="0"/>
              <a:t>CRPD </a:t>
            </a:r>
            <a:r>
              <a:rPr lang="en-US" dirty="0" err="1"/>
              <a:t>anerkjenner</a:t>
            </a:r>
            <a:r>
              <a:rPr lang="en-US" dirty="0"/>
              <a:t> at alle </a:t>
            </a:r>
            <a:r>
              <a:rPr lang="en-US" dirty="0" err="1"/>
              <a:t>mennesker</a:t>
            </a:r>
            <a:r>
              <a:rPr lang="en-US" dirty="0"/>
              <a:t>, </a:t>
            </a:r>
            <a:r>
              <a:rPr lang="en-US" dirty="0" err="1"/>
              <a:t>uavhengig</a:t>
            </a:r>
            <a:r>
              <a:rPr lang="en-US" dirty="0"/>
              <a:t> av </a:t>
            </a:r>
            <a:r>
              <a:rPr lang="en-US" dirty="0" err="1"/>
              <a:t>forutsetninger</a:t>
            </a:r>
            <a:r>
              <a:rPr lang="en-US" dirty="0"/>
              <a:t> </a:t>
            </a:r>
            <a:r>
              <a:rPr lang="en-US" dirty="0" err="1"/>
              <a:t>eller</a:t>
            </a:r>
            <a:r>
              <a:rPr lang="en-US" dirty="0"/>
              <a:t> </a:t>
            </a:r>
            <a:r>
              <a:rPr lang="en-US" dirty="0" err="1"/>
              <a:t>kompetanse</a:t>
            </a:r>
            <a:r>
              <a:rPr lang="en-US" dirty="0"/>
              <a:t>, har </a:t>
            </a:r>
            <a:r>
              <a:rPr lang="en-US" b="1" dirty="0" err="1"/>
              <a:t>en</a:t>
            </a:r>
            <a:r>
              <a:rPr lang="en-US" b="1" dirty="0"/>
              <a:t> </a:t>
            </a:r>
            <a:r>
              <a:rPr lang="en-US" b="1" dirty="0" err="1"/>
              <a:t>vilje</a:t>
            </a:r>
            <a:r>
              <a:rPr lang="en-US" b="1" dirty="0"/>
              <a:t> </a:t>
            </a:r>
            <a:r>
              <a:rPr lang="en-US" b="1" dirty="0" err="1"/>
              <a:t>og</a:t>
            </a:r>
            <a:r>
              <a:rPr lang="en-US" b="1" dirty="0"/>
              <a:t> </a:t>
            </a:r>
            <a:r>
              <a:rPr lang="en-US" b="1" dirty="0" err="1"/>
              <a:t>preferanser</a:t>
            </a:r>
            <a:r>
              <a:rPr lang="en-US" b="1" dirty="0"/>
              <a:t> </a:t>
            </a:r>
            <a:r>
              <a:rPr lang="en-US" b="1" dirty="0" err="1"/>
              <a:t>og</a:t>
            </a:r>
            <a:r>
              <a:rPr lang="en-US" b="1" dirty="0"/>
              <a:t> </a:t>
            </a:r>
            <a:r>
              <a:rPr lang="en-US" b="1" dirty="0" err="1"/>
              <a:t>rett</a:t>
            </a:r>
            <a:r>
              <a:rPr lang="en-US" b="1" dirty="0"/>
              <a:t> </a:t>
            </a:r>
            <a:r>
              <a:rPr lang="en-US" b="1" dirty="0" err="1"/>
              <a:t>til</a:t>
            </a:r>
            <a:r>
              <a:rPr lang="en-US" b="1" dirty="0"/>
              <a:t> at </a:t>
            </a:r>
            <a:r>
              <a:rPr lang="en-US" b="1" dirty="0" err="1"/>
              <a:t>dette</a:t>
            </a:r>
            <a:r>
              <a:rPr lang="en-US" b="1" dirty="0"/>
              <a:t> </a:t>
            </a:r>
            <a:r>
              <a:rPr lang="en-US" b="1" dirty="0" err="1"/>
              <a:t>respekteres</a:t>
            </a:r>
            <a:r>
              <a:rPr lang="en-US" b="1" dirty="0"/>
              <a:t> </a:t>
            </a:r>
            <a:r>
              <a:rPr lang="en-US" b="1" dirty="0" err="1"/>
              <a:t>og</a:t>
            </a:r>
            <a:r>
              <a:rPr lang="en-US" b="1" dirty="0"/>
              <a:t> </a:t>
            </a:r>
            <a:r>
              <a:rPr lang="en-US" b="1" dirty="0" err="1"/>
              <a:t>understøttes</a:t>
            </a:r>
            <a:r>
              <a:rPr lang="en-US" b="1" dirty="0"/>
              <a:t>.</a:t>
            </a:r>
            <a:r>
              <a:rPr lang="en-US" dirty="0"/>
              <a:t> </a:t>
            </a:r>
          </a:p>
          <a:p>
            <a:r>
              <a:rPr lang="en-US" dirty="0" err="1"/>
              <a:t>Beslutningsstøtte</a:t>
            </a:r>
            <a:r>
              <a:rPr lang="en-US" dirty="0"/>
              <a:t> handler om </a:t>
            </a:r>
            <a:r>
              <a:rPr lang="en-US" b="1" dirty="0" err="1"/>
              <a:t>å</a:t>
            </a:r>
            <a:r>
              <a:rPr lang="en-US" b="1" dirty="0"/>
              <a:t> </a:t>
            </a:r>
            <a:r>
              <a:rPr lang="en-US" b="1" dirty="0" err="1"/>
              <a:t>forstå</a:t>
            </a:r>
            <a:r>
              <a:rPr lang="en-US" b="1" dirty="0"/>
              <a:t>, </a:t>
            </a:r>
            <a:r>
              <a:rPr lang="en-US" b="1" dirty="0" err="1"/>
              <a:t>støtte</a:t>
            </a:r>
            <a:r>
              <a:rPr lang="en-US" b="1" dirty="0"/>
              <a:t> </a:t>
            </a:r>
            <a:r>
              <a:rPr lang="en-US" b="1" dirty="0" err="1"/>
              <a:t>og</a:t>
            </a:r>
            <a:r>
              <a:rPr lang="en-US" b="1" dirty="0"/>
              <a:t> </a:t>
            </a:r>
            <a:r>
              <a:rPr lang="en-US" b="1" dirty="0" err="1"/>
              <a:t>gjennomføre</a:t>
            </a:r>
            <a:r>
              <a:rPr lang="en-US" b="1" dirty="0"/>
              <a:t> </a:t>
            </a:r>
            <a:r>
              <a:rPr lang="en-US" b="1" dirty="0" err="1"/>
              <a:t>personens</a:t>
            </a:r>
            <a:r>
              <a:rPr lang="en-US" b="1" dirty="0"/>
              <a:t> </a:t>
            </a:r>
            <a:r>
              <a:rPr lang="en-US" b="1" dirty="0" err="1"/>
              <a:t>egen</a:t>
            </a:r>
            <a:r>
              <a:rPr lang="en-US" b="1" dirty="0"/>
              <a:t> </a:t>
            </a:r>
            <a:r>
              <a:rPr lang="en-US" b="1" dirty="0" err="1"/>
              <a:t>vilje</a:t>
            </a:r>
            <a:r>
              <a:rPr lang="en-US" b="1" dirty="0"/>
              <a:t> </a:t>
            </a:r>
            <a:r>
              <a:rPr lang="en-US" b="1" dirty="0" err="1"/>
              <a:t>og</a:t>
            </a:r>
            <a:r>
              <a:rPr lang="en-US" b="1" dirty="0"/>
              <a:t> </a:t>
            </a:r>
            <a:r>
              <a:rPr lang="en-US" b="1" dirty="0" err="1"/>
              <a:t>valg</a:t>
            </a:r>
            <a:r>
              <a:rPr lang="en-US" dirty="0"/>
              <a:t>, </a:t>
            </a:r>
            <a:r>
              <a:rPr lang="en-US" dirty="0" err="1"/>
              <a:t>ikke</a:t>
            </a:r>
            <a:r>
              <a:rPr lang="en-US" dirty="0"/>
              <a:t> </a:t>
            </a:r>
            <a:r>
              <a:rPr lang="en-US" dirty="0" err="1"/>
              <a:t>å</a:t>
            </a:r>
            <a:r>
              <a:rPr lang="en-US" dirty="0"/>
              <a:t> </a:t>
            </a:r>
            <a:r>
              <a:rPr lang="en-US" dirty="0" err="1"/>
              <a:t>få</a:t>
            </a:r>
            <a:r>
              <a:rPr lang="en-US" dirty="0"/>
              <a:t> dem </a:t>
            </a:r>
            <a:r>
              <a:rPr lang="en-US" dirty="0" err="1"/>
              <a:t>til</a:t>
            </a:r>
            <a:r>
              <a:rPr lang="en-US" dirty="0"/>
              <a:t> </a:t>
            </a:r>
            <a:r>
              <a:rPr lang="en-US" dirty="0" err="1"/>
              <a:t>å</a:t>
            </a:r>
            <a:r>
              <a:rPr lang="en-US" dirty="0"/>
              <a:t> ta </a:t>
            </a:r>
            <a:r>
              <a:rPr lang="en-US" dirty="0" err="1"/>
              <a:t>valg</a:t>
            </a:r>
            <a:r>
              <a:rPr lang="en-US" dirty="0"/>
              <a:t> </a:t>
            </a:r>
            <a:r>
              <a:rPr lang="en-US" dirty="0" err="1"/>
              <a:t>som</a:t>
            </a:r>
            <a:r>
              <a:rPr lang="en-US" dirty="0"/>
              <a:t> er </a:t>
            </a:r>
            <a:r>
              <a:rPr lang="en-US" dirty="0" err="1"/>
              <a:t>i</a:t>
            </a:r>
            <a:r>
              <a:rPr lang="en-US" dirty="0"/>
              <a:t> </a:t>
            </a:r>
            <a:r>
              <a:rPr lang="en-US" dirty="0" err="1"/>
              <a:t>tråd</a:t>
            </a:r>
            <a:r>
              <a:rPr lang="en-US" dirty="0"/>
              <a:t> med det </a:t>
            </a:r>
            <a:r>
              <a:rPr lang="en-US" dirty="0" err="1"/>
              <a:t>behandlingspersonale</a:t>
            </a:r>
            <a:r>
              <a:rPr lang="en-US" dirty="0"/>
              <a:t>/</a:t>
            </a:r>
            <a:r>
              <a:rPr lang="en-US" dirty="0" err="1"/>
              <a:t>pårørende</a:t>
            </a:r>
            <a:r>
              <a:rPr lang="en-US" dirty="0"/>
              <a:t>/</a:t>
            </a:r>
            <a:r>
              <a:rPr lang="en-US" dirty="0" err="1"/>
              <a:t>omgivelsene</a:t>
            </a:r>
            <a:r>
              <a:rPr lang="en-US" dirty="0"/>
              <a:t> </a:t>
            </a:r>
            <a:r>
              <a:rPr lang="en-US" dirty="0" err="1"/>
              <a:t>mener</a:t>
            </a:r>
            <a:r>
              <a:rPr lang="en-US" dirty="0"/>
              <a:t> er det </a:t>
            </a:r>
            <a:r>
              <a:rPr lang="en-US" dirty="0" err="1"/>
              <a:t>beste</a:t>
            </a:r>
            <a:r>
              <a:rPr lang="en-US" dirty="0"/>
              <a:t>. </a:t>
            </a:r>
          </a:p>
          <a:p>
            <a:r>
              <a:rPr lang="en-US" dirty="0"/>
              <a:t>Det </a:t>
            </a:r>
            <a:r>
              <a:rPr lang="en-US" dirty="0" err="1"/>
              <a:t>vil</a:t>
            </a:r>
            <a:r>
              <a:rPr lang="en-US" dirty="0"/>
              <a:t> </a:t>
            </a:r>
            <a:r>
              <a:rPr lang="en-US" dirty="0" err="1"/>
              <a:t>variere</a:t>
            </a:r>
            <a:r>
              <a:rPr lang="en-US" dirty="0"/>
              <a:t> </a:t>
            </a:r>
            <a:r>
              <a:rPr lang="en-US" dirty="0" err="1"/>
              <a:t>hvor</a:t>
            </a:r>
            <a:r>
              <a:rPr lang="en-US" dirty="0"/>
              <a:t> </a:t>
            </a:r>
            <a:r>
              <a:rPr lang="en-US" dirty="0" err="1"/>
              <a:t>mye</a:t>
            </a:r>
            <a:r>
              <a:rPr lang="en-US" dirty="0"/>
              <a:t> </a:t>
            </a:r>
            <a:r>
              <a:rPr lang="en-US" dirty="0" err="1"/>
              <a:t>støtte</a:t>
            </a:r>
            <a:r>
              <a:rPr lang="en-US" dirty="0"/>
              <a:t> man </a:t>
            </a:r>
            <a:r>
              <a:rPr lang="en-US" dirty="0" err="1"/>
              <a:t>ønsker</a:t>
            </a:r>
            <a:r>
              <a:rPr lang="en-US" dirty="0"/>
              <a:t> </a:t>
            </a:r>
            <a:r>
              <a:rPr lang="en-US" dirty="0" err="1"/>
              <a:t>og</a:t>
            </a:r>
            <a:r>
              <a:rPr lang="en-US" dirty="0"/>
              <a:t> </a:t>
            </a:r>
            <a:r>
              <a:rPr lang="en-US" dirty="0" err="1"/>
              <a:t>trenger</a:t>
            </a:r>
            <a:r>
              <a:rPr lang="en-US" dirty="0"/>
              <a:t>, </a:t>
            </a:r>
            <a:r>
              <a:rPr lang="en-US" dirty="0" err="1"/>
              <a:t>avhengig</a:t>
            </a:r>
            <a:r>
              <a:rPr lang="en-US" dirty="0"/>
              <a:t> av </a:t>
            </a:r>
            <a:r>
              <a:rPr lang="en-US" dirty="0" err="1"/>
              <a:t>hvilke</a:t>
            </a:r>
            <a:r>
              <a:rPr lang="en-US" dirty="0"/>
              <a:t> </a:t>
            </a:r>
            <a:r>
              <a:rPr lang="en-US" dirty="0" err="1"/>
              <a:t>personlige</a:t>
            </a:r>
            <a:r>
              <a:rPr lang="en-US" dirty="0"/>
              <a:t> </a:t>
            </a:r>
            <a:r>
              <a:rPr lang="en-US" dirty="0" err="1"/>
              <a:t>behov</a:t>
            </a:r>
            <a:r>
              <a:rPr lang="en-US" dirty="0"/>
              <a:t> man har. </a:t>
            </a:r>
          </a:p>
          <a:p>
            <a:endParaRPr lang="en-US" dirty="0"/>
          </a:p>
          <a:p>
            <a:endParaRPr lang="en-US" dirty="0"/>
          </a:p>
        </p:txBody>
      </p:sp>
      <p:sp>
        <p:nvSpPr>
          <p:cNvPr id="5" name="Title 4">
            <a:extLst>
              <a:ext uri="{FF2B5EF4-FFF2-40B4-BE49-F238E27FC236}">
                <a16:creationId xmlns:a16="http://schemas.microsoft.com/office/drawing/2014/main" id="{04472CA3-F8B9-0740-9FC4-60180FE89FE7}"/>
              </a:ext>
            </a:extLst>
          </p:cNvPr>
          <p:cNvSpPr>
            <a:spLocks noGrp="1"/>
          </p:cNvSpPr>
          <p:nvPr>
            <p:ph type="title"/>
          </p:nvPr>
        </p:nvSpPr>
        <p:spPr/>
        <p:txBody>
          <a:bodyPr/>
          <a:lstStyle/>
          <a:p>
            <a:r>
              <a:rPr lang="en-US" dirty="0"/>
              <a:t>Supported decision-making / </a:t>
            </a:r>
            <a:r>
              <a:rPr lang="en-US" dirty="0" err="1"/>
              <a:t>Beslutningsstøtte</a:t>
            </a:r>
            <a:r>
              <a:rPr lang="en-US" dirty="0"/>
              <a:t>  </a:t>
            </a:r>
          </a:p>
        </p:txBody>
      </p:sp>
    </p:spTree>
    <p:extLst>
      <p:ext uri="{BB962C8B-B14F-4D97-AF65-F5344CB8AC3E}">
        <p14:creationId xmlns:p14="http://schemas.microsoft.com/office/powerpoint/2010/main" val="37804317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3BD987A-FA26-2FB4-E15A-F0744E7C4C7D}"/>
              </a:ext>
            </a:extLst>
          </p:cNvPr>
          <p:cNvSpPr>
            <a:spLocks noGrp="1"/>
          </p:cNvSpPr>
          <p:nvPr>
            <p:ph type="sldNum" sz="quarter" idx="12"/>
          </p:nvPr>
        </p:nvSpPr>
        <p:spPr/>
        <p:txBody>
          <a:bodyPr/>
          <a:lstStyle/>
          <a:p>
            <a:fld id="{04260D4A-DEC1-45DD-8AB2-A3349BAAA59E}" type="slidenum">
              <a:rPr lang="en-US" smtClean="0"/>
              <a:pPr/>
              <a:t>27</a:t>
            </a:fld>
            <a:endParaRPr lang="en-US"/>
          </a:p>
        </p:txBody>
      </p:sp>
      <p:sp>
        <p:nvSpPr>
          <p:cNvPr id="3" name="Text Placeholder 2">
            <a:extLst>
              <a:ext uri="{FF2B5EF4-FFF2-40B4-BE49-F238E27FC236}">
                <a16:creationId xmlns:a16="http://schemas.microsoft.com/office/drawing/2014/main" id="{D33D9E07-A1FC-A6B7-895D-D265B658860E}"/>
              </a:ext>
            </a:extLst>
          </p:cNvPr>
          <p:cNvSpPr>
            <a:spLocks noGrp="1"/>
          </p:cNvSpPr>
          <p:nvPr>
            <p:ph type="body" sz="quarter" idx="13"/>
          </p:nvPr>
        </p:nvSpPr>
        <p:spPr/>
        <p:txBody>
          <a:bodyPr/>
          <a:lstStyle/>
          <a:p>
            <a:endParaRPr lang="nb-NO"/>
          </a:p>
        </p:txBody>
      </p:sp>
      <p:pic>
        <p:nvPicPr>
          <p:cNvPr id="6" name="Online Media 5" descr="WHO QR Module leg cap &amp; Module SDM : Circles of Support (Inclusion Melbourne)">
            <a:hlinkClick r:id="" action="ppaction://media"/>
            <a:extLst>
              <a:ext uri="{FF2B5EF4-FFF2-40B4-BE49-F238E27FC236}">
                <a16:creationId xmlns:a16="http://schemas.microsoft.com/office/drawing/2014/main" id="{591C22C9-4040-3395-75E3-E71498FA9313}"/>
              </a:ext>
            </a:extLst>
          </p:cNvPr>
          <p:cNvPicPr>
            <a:picLocks noGrp="1" noRot="1" noChangeAspect="1"/>
          </p:cNvPicPr>
          <p:nvPr>
            <p:ph sz="quarter" idx="14"/>
            <a:videoFile r:link="rId1"/>
          </p:nvPr>
        </p:nvPicPr>
        <p:blipFill>
          <a:blip r:embed="rId3"/>
          <a:stretch>
            <a:fillRect/>
          </a:stretch>
        </p:blipFill>
        <p:spPr>
          <a:xfrm>
            <a:off x="893618" y="202798"/>
            <a:ext cx="10404763" cy="5878338"/>
          </a:xfrm>
          <a:prstGeom prst="rect">
            <a:avLst/>
          </a:prstGeom>
        </p:spPr>
      </p:pic>
      <p:sp>
        <p:nvSpPr>
          <p:cNvPr id="5" name="Title 4">
            <a:extLst>
              <a:ext uri="{FF2B5EF4-FFF2-40B4-BE49-F238E27FC236}">
                <a16:creationId xmlns:a16="http://schemas.microsoft.com/office/drawing/2014/main" id="{B5B80C9D-B3A1-9A5A-695F-6770159BC4B4}"/>
              </a:ext>
            </a:extLst>
          </p:cNvPr>
          <p:cNvSpPr>
            <a:spLocks noGrp="1"/>
          </p:cNvSpPr>
          <p:nvPr>
            <p:ph type="title"/>
          </p:nvPr>
        </p:nvSpPr>
        <p:spPr/>
        <p:txBody>
          <a:bodyPr/>
          <a:lstStyle/>
          <a:p>
            <a:endParaRPr lang="nb-NO"/>
          </a:p>
        </p:txBody>
      </p:sp>
    </p:spTree>
    <p:extLst>
      <p:ext uri="{BB962C8B-B14F-4D97-AF65-F5344CB8AC3E}">
        <p14:creationId xmlns:p14="http://schemas.microsoft.com/office/powerpoint/2010/main" val="4207890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F64AC4-5DE9-6D4B-8624-44AAC55EAC85}"/>
              </a:ext>
            </a:extLst>
          </p:cNvPr>
          <p:cNvSpPr>
            <a:spLocks noGrp="1"/>
          </p:cNvSpPr>
          <p:nvPr>
            <p:ph type="sldNum" sz="quarter" idx="12"/>
          </p:nvPr>
        </p:nvSpPr>
        <p:spPr/>
        <p:txBody>
          <a:bodyPr/>
          <a:lstStyle/>
          <a:p>
            <a:fld id="{04260D4A-DEC1-45DD-8AB2-A3349BAAA59E}" type="slidenum">
              <a:rPr lang="en-US" smtClean="0"/>
              <a:pPr/>
              <a:t>28</a:t>
            </a:fld>
            <a:endParaRPr lang="en-US"/>
          </a:p>
        </p:txBody>
      </p:sp>
      <p:sp>
        <p:nvSpPr>
          <p:cNvPr id="4" name="Content Placeholder 3">
            <a:extLst>
              <a:ext uri="{FF2B5EF4-FFF2-40B4-BE49-F238E27FC236}">
                <a16:creationId xmlns:a16="http://schemas.microsoft.com/office/drawing/2014/main" id="{39B74202-0D77-6041-902C-D4BAAAD1FFF4}"/>
              </a:ext>
            </a:extLst>
          </p:cNvPr>
          <p:cNvSpPr>
            <a:spLocks noGrp="1"/>
          </p:cNvSpPr>
          <p:nvPr>
            <p:ph sz="quarter" idx="14"/>
          </p:nvPr>
        </p:nvSpPr>
        <p:spPr>
          <a:xfrm>
            <a:off x="507195" y="1466584"/>
            <a:ext cx="11174412" cy="4500000"/>
          </a:xfrm>
        </p:spPr>
        <p:txBody>
          <a:bodyPr/>
          <a:lstStyle/>
          <a:p>
            <a:pPr marL="0" indent="0">
              <a:buNone/>
            </a:pPr>
            <a:r>
              <a:rPr lang="nb-NO" sz="2000" b="1" dirty="0"/>
              <a:t>Hva er en framtidsplan?</a:t>
            </a:r>
          </a:p>
          <a:p>
            <a:r>
              <a:rPr lang="nb-NO" sz="2000" dirty="0"/>
              <a:t>Mulighet til å dokumentere egen vilje og preferanser på forhånd </a:t>
            </a:r>
          </a:p>
          <a:p>
            <a:r>
              <a:rPr lang="nb-NO" sz="2000" dirty="0"/>
              <a:t>Skape en dokument som kan fungerer som en veileder for helsepersonell i en krise</a:t>
            </a:r>
          </a:p>
          <a:p>
            <a:r>
              <a:rPr lang="nb-NO" sz="2000" dirty="0"/>
              <a:t>Respekterer en persons rettslig handleevne</a:t>
            </a:r>
          </a:p>
          <a:p>
            <a:pPr marL="0" indent="0">
              <a:buNone/>
            </a:pPr>
            <a:r>
              <a:rPr lang="nb-NO" sz="2000" b="1" dirty="0" err="1"/>
              <a:t>Ulysees</a:t>
            </a:r>
            <a:r>
              <a:rPr lang="nb-NO" sz="2000" b="1" dirty="0"/>
              <a:t> </a:t>
            </a:r>
            <a:r>
              <a:rPr lang="nb-NO" sz="2000" b="1" dirty="0" err="1"/>
              <a:t>klauser</a:t>
            </a:r>
            <a:r>
              <a:rPr lang="nb-NO" sz="2000" b="1" dirty="0"/>
              <a:t>:</a:t>
            </a:r>
          </a:p>
          <a:p>
            <a:r>
              <a:rPr lang="nb-NO" sz="2000" dirty="0"/>
              <a:t>Dette kan være aktuelt hvis en person vet at han i en ekstrem tilstand vil kunne gjøre ting han vil angre på og ikke ønsker, og vil hindres fra dette. </a:t>
            </a:r>
          </a:p>
          <a:p>
            <a:r>
              <a:rPr lang="nb-NO" sz="2000" dirty="0"/>
              <a:t>Denne type avtaler, som innebærer å handle mot personens vilje i øyeblikket ut fra tidligere uttalte ønsker, må følges opp grundig for å sikre at det som gjøres faktisk er i tråd med personens ønsker.</a:t>
            </a:r>
          </a:p>
          <a:p>
            <a:r>
              <a:rPr lang="nb-NO" sz="2000" dirty="0"/>
              <a:t>Innebærer å gjøre avtaler som kan innebære midlertidig bruk av eks. tilbakeholdelse etter personens tidligere uttalte vilje.</a:t>
            </a:r>
            <a:endParaRPr lang="en-US" sz="2000" dirty="0"/>
          </a:p>
          <a:p>
            <a:endParaRPr lang="en-US" dirty="0"/>
          </a:p>
        </p:txBody>
      </p:sp>
      <p:sp>
        <p:nvSpPr>
          <p:cNvPr id="5" name="Title 4">
            <a:extLst>
              <a:ext uri="{FF2B5EF4-FFF2-40B4-BE49-F238E27FC236}">
                <a16:creationId xmlns:a16="http://schemas.microsoft.com/office/drawing/2014/main" id="{7A74FA64-DA1A-F241-BC5F-119642BE065E}"/>
              </a:ext>
            </a:extLst>
          </p:cNvPr>
          <p:cNvSpPr>
            <a:spLocks noGrp="1"/>
          </p:cNvSpPr>
          <p:nvPr>
            <p:ph type="title"/>
          </p:nvPr>
        </p:nvSpPr>
        <p:spPr/>
        <p:txBody>
          <a:bodyPr/>
          <a:lstStyle/>
          <a:p>
            <a:r>
              <a:rPr lang="en-US" dirty="0" err="1"/>
              <a:t>Fremtidsplanlegging</a:t>
            </a:r>
            <a:endParaRPr lang="en-US" dirty="0"/>
          </a:p>
        </p:txBody>
      </p:sp>
    </p:spTree>
    <p:extLst>
      <p:ext uri="{BB962C8B-B14F-4D97-AF65-F5344CB8AC3E}">
        <p14:creationId xmlns:p14="http://schemas.microsoft.com/office/powerpoint/2010/main" val="13763334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Content Placeholder 4" descr="A group of people sitting together&#10;&#10;Description automatically generated with medium confidence">
            <a:extLst>
              <a:ext uri="{FF2B5EF4-FFF2-40B4-BE49-F238E27FC236}">
                <a16:creationId xmlns:a16="http://schemas.microsoft.com/office/drawing/2014/main" id="{EC902F4B-FE35-5F46-B90E-98FAC168CE20}"/>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b="443"/>
          <a:stretch/>
        </p:blipFill>
        <p:spPr>
          <a:xfrm>
            <a:off x="20" y="10"/>
            <a:ext cx="12191980" cy="6857990"/>
          </a:xfrm>
          <a:prstGeom prst="rect">
            <a:avLst/>
          </a:prstGeom>
        </p:spPr>
      </p:pic>
      <p:sp>
        <p:nvSpPr>
          <p:cNvPr id="10" name="Rectangle 9">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23806C5-283F-6E4D-A32D-2A086360EFC6}"/>
              </a:ext>
            </a:extLst>
          </p:cNvPr>
          <p:cNvSpPr>
            <a:spLocks noGrp="1"/>
          </p:cNvSpPr>
          <p:nvPr>
            <p:ph type="title"/>
          </p:nvPr>
        </p:nvSpPr>
        <p:spPr>
          <a:xfrm>
            <a:off x="523875" y="5317240"/>
            <a:ext cx="11210925" cy="744836"/>
          </a:xfrm>
        </p:spPr>
        <p:txBody>
          <a:bodyPr vert="horz" lIns="91440" tIns="45720" rIns="91440" bIns="45720" rtlCol="0" anchor="ctr">
            <a:normAutofit/>
          </a:bodyPr>
          <a:lstStyle/>
          <a:p>
            <a:pPr algn="ctr"/>
            <a:r>
              <a:rPr lang="en-US" sz="3600" dirty="0" err="1">
                <a:solidFill>
                  <a:schemeClr val="tx1">
                    <a:lumMod val="85000"/>
                    <a:lumOff val="15000"/>
                  </a:schemeClr>
                </a:solidFill>
              </a:rPr>
              <a:t>Finnes</a:t>
            </a:r>
            <a:r>
              <a:rPr lang="en-US" sz="3600" dirty="0">
                <a:solidFill>
                  <a:schemeClr val="tx1">
                    <a:lumMod val="85000"/>
                    <a:lumOff val="15000"/>
                  </a:schemeClr>
                </a:solidFill>
              </a:rPr>
              <a:t> det </a:t>
            </a:r>
            <a:r>
              <a:rPr lang="en-US" sz="3600" dirty="0" err="1">
                <a:solidFill>
                  <a:schemeClr val="tx1">
                    <a:lumMod val="85000"/>
                    <a:lumOff val="15000"/>
                  </a:schemeClr>
                </a:solidFill>
              </a:rPr>
              <a:t>en</a:t>
            </a:r>
            <a:r>
              <a:rPr lang="en-US" sz="3600" dirty="0">
                <a:solidFill>
                  <a:schemeClr val="tx1">
                    <a:lumMod val="85000"/>
                    <a:lumOff val="15000"/>
                  </a:schemeClr>
                </a:solidFill>
              </a:rPr>
              <a:t> </a:t>
            </a:r>
            <a:r>
              <a:rPr lang="en-US" sz="3600" dirty="0" err="1">
                <a:solidFill>
                  <a:schemeClr val="tx1">
                    <a:lumMod val="85000"/>
                    <a:lumOff val="15000"/>
                  </a:schemeClr>
                </a:solidFill>
              </a:rPr>
              <a:t>konsensus</a:t>
            </a:r>
            <a:r>
              <a:rPr lang="en-US" sz="3600" dirty="0">
                <a:solidFill>
                  <a:schemeClr val="tx1">
                    <a:lumMod val="85000"/>
                    <a:lumOff val="15000"/>
                  </a:schemeClr>
                </a:solidFill>
              </a:rPr>
              <a:t> </a:t>
            </a:r>
            <a:r>
              <a:rPr lang="en-US" sz="3600" dirty="0" err="1">
                <a:solidFill>
                  <a:schemeClr val="tx1">
                    <a:lumMod val="85000"/>
                    <a:lumOff val="15000"/>
                  </a:schemeClr>
                </a:solidFill>
              </a:rPr>
              <a:t>i</a:t>
            </a:r>
            <a:r>
              <a:rPr lang="en-US" sz="3600" dirty="0">
                <a:solidFill>
                  <a:schemeClr val="tx1">
                    <a:lumMod val="85000"/>
                    <a:lumOff val="15000"/>
                  </a:schemeClr>
                </a:solidFill>
              </a:rPr>
              <a:t> det </a:t>
            </a:r>
            <a:r>
              <a:rPr lang="en-US" sz="3600" dirty="0" err="1">
                <a:solidFill>
                  <a:schemeClr val="tx1">
                    <a:lumMod val="85000"/>
                    <a:lumOff val="15000"/>
                  </a:schemeClr>
                </a:solidFill>
              </a:rPr>
              <a:t>psykiatriske</a:t>
            </a:r>
            <a:r>
              <a:rPr lang="en-US" sz="3600" dirty="0">
                <a:solidFill>
                  <a:schemeClr val="tx1">
                    <a:lumMod val="85000"/>
                    <a:lumOff val="15000"/>
                  </a:schemeClr>
                </a:solidFill>
              </a:rPr>
              <a:t> </a:t>
            </a:r>
            <a:r>
              <a:rPr lang="en-US" sz="3600" dirty="0" err="1">
                <a:solidFill>
                  <a:schemeClr val="tx1">
                    <a:lumMod val="85000"/>
                    <a:lumOff val="15000"/>
                  </a:schemeClr>
                </a:solidFill>
              </a:rPr>
              <a:t>fagfeltet</a:t>
            </a:r>
            <a:r>
              <a:rPr lang="en-US" sz="3600" dirty="0">
                <a:solidFill>
                  <a:schemeClr val="tx1">
                    <a:lumMod val="85000"/>
                    <a:lumOff val="15000"/>
                  </a:schemeClr>
                </a:solidFill>
              </a:rPr>
              <a:t>? </a:t>
            </a:r>
          </a:p>
        </p:txBody>
      </p:sp>
      <p:cxnSp>
        <p:nvCxnSpPr>
          <p:cNvPr id="12" name="Straight Connector 11">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10024AA7-8726-5A43-A664-21BCD0A44852}"/>
              </a:ext>
            </a:extLst>
          </p:cNvPr>
          <p:cNvSpPr/>
          <p:nvPr/>
        </p:nvSpPr>
        <p:spPr>
          <a:xfrm>
            <a:off x="8131628" y="182741"/>
            <a:ext cx="3603172" cy="249902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ysClr val="windowText" lastClr="000000"/>
              </a:solidFill>
            </a:endParaRPr>
          </a:p>
        </p:txBody>
      </p:sp>
      <p:sp>
        <p:nvSpPr>
          <p:cNvPr id="4" name="TextBox 3">
            <a:extLst>
              <a:ext uri="{FF2B5EF4-FFF2-40B4-BE49-F238E27FC236}">
                <a16:creationId xmlns:a16="http://schemas.microsoft.com/office/drawing/2014/main" id="{687DF02A-12DB-784C-B1AD-DDB9809C20F6}"/>
              </a:ext>
            </a:extLst>
          </p:cNvPr>
          <p:cNvSpPr txBox="1"/>
          <p:nvPr/>
        </p:nvSpPr>
        <p:spPr>
          <a:xfrm>
            <a:off x="8697686" y="911089"/>
            <a:ext cx="2688771" cy="1154162"/>
          </a:xfrm>
          <a:prstGeom prst="rect">
            <a:avLst/>
          </a:prstGeom>
          <a:noFill/>
        </p:spPr>
        <p:txBody>
          <a:bodyPr wrap="square" rtlCol="0">
            <a:spAutoFit/>
          </a:bodyPr>
          <a:lstStyle/>
          <a:p>
            <a:endParaRPr lang="nb-NO" dirty="0"/>
          </a:p>
          <a:p>
            <a:r>
              <a:rPr lang="nb-NO" sz="2000" dirty="0"/>
              <a:t>Har vi tid til å vente på at psykiatri skal endre seg?</a:t>
            </a:r>
          </a:p>
        </p:txBody>
      </p:sp>
    </p:spTree>
    <p:extLst>
      <p:ext uri="{BB962C8B-B14F-4D97-AF65-F5344CB8AC3E}">
        <p14:creationId xmlns:p14="http://schemas.microsoft.com/office/powerpoint/2010/main" val="24143685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42928-5B8E-BC45-BA12-77CB126418D8}"/>
              </a:ext>
            </a:extLst>
          </p:cNvPr>
          <p:cNvSpPr>
            <a:spLocks noGrp="1"/>
          </p:cNvSpPr>
          <p:nvPr>
            <p:ph type="title"/>
          </p:nvPr>
        </p:nvSpPr>
        <p:spPr>
          <a:xfrm>
            <a:off x="4965431" y="988928"/>
            <a:ext cx="6586491" cy="802907"/>
          </a:xfrm>
        </p:spPr>
        <p:txBody>
          <a:bodyPr anchor="b">
            <a:noAutofit/>
          </a:bodyPr>
          <a:lstStyle/>
          <a:p>
            <a:r>
              <a:rPr lang="en-GB" sz="4100" dirty="0"/>
              <a:t>Vi </a:t>
            </a:r>
            <a:r>
              <a:rPr lang="en-GB" sz="4100" dirty="0" err="1"/>
              <a:t>vil</a:t>
            </a:r>
            <a:r>
              <a:rPr lang="en-GB" sz="4100" dirty="0"/>
              <a:t> </a:t>
            </a:r>
            <a:r>
              <a:rPr lang="en-GB" sz="4100"/>
              <a:t>si</a:t>
            </a:r>
            <a:endParaRPr lang="en-GB" sz="4100" dirty="0"/>
          </a:p>
        </p:txBody>
      </p:sp>
      <p:sp>
        <p:nvSpPr>
          <p:cNvPr id="3" name="Content Placeholder 2">
            <a:extLst>
              <a:ext uri="{FF2B5EF4-FFF2-40B4-BE49-F238E27FC236}">
                <a16:creationId xmlns:a16="http://schemas.microsoft.com/office/drawing/2014/main" id="{A0FAFF16-BDF4-5246-85BE-4E70D82EC397}"/>
              </a:ext>
            </a:extLst>
          </p:cNvPr>
          <p:cNvSpPr>
            <a:spLocks noGrp="1"/>
          </p:cNvSpPr>
          <p:nvPr>
            <p:ph idx="1"/>
          </p:nvPr>
        </p:nvSpPr>
        <p:spPr>
          <a:xfrm>
            <a:off x="4965431" y="2438400"/>
            <a:ext cx="6586489" cy="3785419"/>
          </a:xfrm>
        </p:spPr>
        <p:txBody>
          <a:bodyPr>
            <a:normAutofit/>
          </a:bodyPr>
          <a:lstStyle/>
          <a:p>
            <a:endParaRPr lang="nb-NO" sz="2000" dirty="0"/>
          </a:p>
          <a:p>
            <a:r>
              <a:rPr lang="en-GB" sz="2000" dirty="0" err="1"/>
              <a:t>Litt</a:t>
            </a:r>
            <a:r>
              <a:rPr lang="en-GB" sz="2000" dirty="0"/>
              <a:t> om </a:t>
            </a:r>
            <a:r>
              <a:rPr lang="en-GB" sz="2000" dirty="0" err="1"/>
              <a:t>struktur</a:t>
            </a:r>
            <a:r>
              <a:rPr lang="en-GB" sz="2000" dirty="0"/>
              <a:t> </a:t>
            </a:r>
            <a:r>
              <a:rPr lang="en-GB" sz="2000" dirty="0" err="1"/>
              <a:t>og</a:t>
            </a:r>
            <a:r>
              <a:rPr lang="en-GB" sz="2000" dirty="0"/>
              <a:t> </a:t>
            </a:r>
            <a:r>
              <a:rPr lang="en-GB" sz="2000" dirty="0" err="1"/>
              <a:t>innhold</a:t>
            </a:r>
            <a:r>
              <a:rPr lang="en-GB" sz="2000" dirty="0"/>
              <a:t> </a:t>
            </a:r>
            <a:r>
              <a:rPr lang="en-GB" sz="2000" dirty="0" err="1"/>
              <a:t>i</a:t>
            </a:r>
            <a:r>
              <a:rPr lang="en-GB" sz="2000" dirty="0"/>
              <a:t> WHO´s QualityRights </a:t>
            </a:r>
            <a:r>
              <a:rPr lang="en-GB" sz="2000" dirty="0" err="1"/>
              <a:t>initiativ</a:t>
            </a:r>
            <a:endParaRPr lang="en-GB" sz="2000" dirty="0"/>
          </a:p>
          <a:p>
            <a:r>
              <a:rPr lang="en-GB" sz="2000" dirty="0"/>
              <a:t>QualityRights </a:t>
            </a:r>
            <a:r>
              <a:rPr lang="en-GB" sz="2000" dirty="0" err="1"/>
              <a:t>som</a:t>
            </a:r>
            <a:r>
              <a:rPr lang="en-GB" sz="2000" dirty="0"/>
              <a:t> </a:t>
            </a:r>
            <a:r>
              <a:rPr lang="en-GB" sz="2000" dirty="0" err="1"/>
              <a:t>en</a:t>
            </a:r>
            <a:r>
              <a:rPr lang="en-GB" sz="2000" dirty="0"/>
              <a:t> </a:t>
            </a:r>
            <a:r>
              <a:rPr lang="en-GB" sz="2000" dirty="0" err="1"/>
              <a:t>løsning</a:t>
            </a:r>
            <a:r>
              <a:rPr lang="en-GB" sz="2000" dirty="0"/>
              <a:t> </a:t>
            </a:r>
            <a:r>
              <a:rPr lang="en-GB" sz="2000" dirty="0" err="1"/>
              <a:t>og</a:t>
            </a:r>
            <a:r>
              <a:rPr lang="en-GB" sz="2000" dirty="0"/>
              <a:t> </a:t>
            </a:r>
            <a:r>
              <a:rPr lang="en-GB" sz="2000" dirty="0" err="1"/>
              <a:t>veien</a:t>
            </a:r>
            <a:r>
              <a:rPr lang="en-GB" sz="2000" dirty="0"/>
              <a:t> </a:t>
            </a:r>
            <a:r>
              <a:rPr lang="en-GB" sz="2000" dirty="0" err="1"/>
              <a:t>videre</a:t>
            </a:r>
            <a:r>
              <a:rPr lang="en-GB" sz="2000" dirty="0"/>
              <a:t> - </a:t>
            </a:r>
            <a:r>
              <a:rPr lang="nb-NO" sz="2000" dirty="0"/>
              <a:t>en</a:t>
            </a:r>
            <a:r>
              <a:rPr lang="nb-NO" dirty="0"/>
              <a:t> </a:t>
            </a:r>
            <a:r>
              <a:rPr lang="nb-NO" sz="2000" dirty="0"/>
              <a:t>mulighet til å bryte opp en fastlåst situasjon i Norge </a:t>
            </a:r>
          </a:p>
          <a:p>
            <a:r>
              <a:rPr lang="nb-NO" sz="2000" dirty="0"/>
              <a:t>Litt om beslutningsstøtte / fremtidsplanlegging</a:t>
            </a:r>
          </a:p>
          <a:p>
            <a:r>
              <a:rPr lang="en-GB" sz="2000" dirty="0" err="1"/>
              <a:t>Psykiske</a:t>
            </a:r>
            <a:r>
              <a:rPr lang="en-GB" sz="2000" dirty="0"/>
              <a:t> </a:t>
            </a:r>
            <a:r>
              <a:rPr lang="en-GB" sz="2000" dirty="0" err="1"/>
              <a:t>helsetjenester</a:t>
            </a:r>
            <a:r>
              <a:rPr lang="en-GB" sz="2000" dirty="0"/>
              <a:t> </a:t>
            </a:r>
            <a:r>
              <a:rPr lang="en-GB" sz="2000" dirty="0" err="1"/>
              <a:t>ikke</a:t>
            </a:r>
            <a:r>
              <a:rPr lang="en-GB" sz="2000" dirty="0"/>
              <a:t> har </a:t>
            </a:r>
            <a:r>
              <a:rPr lang="en-GB" sz="2000" dirty="0" err="1"/>
              <a:t>noe</a:t>
            </a:r>
            <a:r>
              <a:rPr lang="en-GB" sz="2000" dirty="0"/>
              <a:t> </a:t>
            </a:r>
            <a:r>
              <a:rPr lang="en-GB" sz="2000" dirty="0" err="1"/>
              <a:t>å</a:t>
            </a:r>
            <a:r>
              <a:rPr lang="en-GB" sz="2000" dirty="0"/>
              <a:t> </a:t>
            </a:r>
            <a:r>
              <a:rPr lang="en-GB" sz="2000" dirty="0" err="1"/>
              <a:t>frykte</a:t>
            </a:r>
            <a:r>
              <a:rPr lang="en-GB" sz="2000" dirty="0"/>
              <a:t>, men </a:t>
            </a:r>
            <a:r>
              <a:rPr lang="en-GB" sz="2000" dirty="0" err="1"/>
              <a:t>faktisk</a:t>
            </a:r>
            <a:r>
              <a:rPr lang="en-GB" sz="2000" dirty="0"/>
              <a:t> </a:t>
            </a:r>
            <a:r>
              <a:rPr lang="en-GB" sz="2000" dirty="0" err="1"/>
              <a:t>mye</a:t>
            </a:r>
            <a:r>
              <a:rPr lang="en-GB" sz="2000" dirty="0"/>
              <a:t> </a:t>
            </a:r>
            <a:r>
              <a:rPr lang="en-GB" sz="2000" dirty="0" err="1"/>
              <a:t>å</a:t>
            </a:r>
            <a:r>
              <a:rPr lang="en-GB" sz="2000" dirty="0"/>
              <a:t> </a:t>
            </a:r>
            <a:r>
              <a:rPr lang="en-GB" sz="2000" dirty="0" err="1"/>
              <a:t>vinne</a:t>
            </a:r>
            <a:r>
              <a:rPr lang="en-GB" sz="2000" dirty="0"/>
              <a:t> </a:t>
            </a:r>
            <a:r>
              <a:rPr lang="en-GB" sz="2000" dirty="0" err="1"/>
              <a:t>på</a:t>
            </a:r>
            <a:r>
              <a:rPr lang="en-GB" sz="2000" dirty="0"/>
              <a:t> </a:t>
            </a:r>
            <a:r>
              <a:rPr lang="en-GB" sz="2000" dirty="0" err="1"/>
              <a:t>en</a:t>
            </a:r>
            <a:r>
              <a:rPr lang="en-GB" sz="2000" dirty="0"/>
              <a:t> </a:t>
            </a:r>
            <a:r>
              <a:rPr lang="en-GB" sz="2000" dirty="0" err="1"/>
              <a:t>menneskerettighetsbasert</a:t>
            </a:r>
            <a:r>
              <a:rPr lang="en-GB" sz="2000" dirty="0"/>
              <a:t> </a:t>
            </a:r>
            <a:r>
              <a:rPr lang="en-GB" sz="2000" dirty="0" err="1"/>
              <a:t>modell</a:t>
            </a:r>
            <a:endParaRPr lang="en-GB" sz="2000" dirty="0"/>
          </a:p>
        </p:txBody>
      </p:sp>
      <p:pic>
        <p:nvPicPr>
          <p:cNvPr id="4" name="Picture 3">
            <a:extLst>
              <a:ext uri="{FF2B5EF4-FFF2-40B4-BE49-F238E27FC236}">
                <a16:creationId xmlns:a16="http://schemas.microsoft.com/office/drawing/2014/main" id="{945E7474-09FB-5549-8DBA-749B68EE0E76}"/>
              </a:ext>
            </a:extLst>
          </p:cNvPr>
          <p:cNvPicPr>
            <a:picLocks noChangeAspect="1"/>
          </p:cNvPicPr>
          <p:nvPr/>
        </p:nvPicPr>
        <p:blipFill rotWithShape="1">
          <a:blip r:embed="rId2"/>
          <a:srcRect r="10767"/>
          <a:stretch/>
        </p:blipFill>
        <p:spPr>
          <a:xfrm>
            <a:off x="20" y="10"/>
            <a:ext cx="4635571" cy="6857990"/>
          </a:xfrm>
          <a:prstGeom prst="rect">
            <a:avLst/>
          </a:prstGeom>
          <a:effectLst/>
        </p:spPr>
      </p:pic>
      <p:cxnSp>
        <p:nvCxnSpPr>
          <p:cNvPr id="9" name="Straight Connector 8">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69394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1FD8124-A269-EF4D-B47B-D68824528C42}"/>
              </a:ext>
            </a:extLst>
          </p:cNvPr>
          <p:cNvPicPr>
            <a:picLocks noChangeAspect="1"/>
          </p:cNvPicPr>
          <p:nvPr/>
        </p:nvPicPr>
        <p:blipFill>
          <a:blip r:embed="rId2">
            <a:alphaModFix amt="28000"/>
          </a:blip>
          <a:stretch>
            <a:fillRect/>
          </a:stretch>
        </p:blipFill>
        <p:spPr>
          <a:xfrm>
            <a:off x="0" y="-2455818"/>
            <a:ext cx="12192000" cy="12192000"/>
          </a:xfrm>
          <a:prstGeom prst="rect">
            <a:avLst/>
          </a:prstGeom>
          <a:effectLst>
            <a:reflection endPos="65000" dist="50800" dir="5400000" sy="-100000" algn="bl" rotWithShape="0"/>
          </a:effectLst>
        </p:spPr>
      </p:pic>
      <p:sp>
        <p:nvSpPr>
          <p:cNvPr id="3" name="Text Placeholder 2">
            <a:extLst>
              <a:ext uri="{FF2B5EF4-FFF2-40B4-BE49-F238E27FC236}">
                <a16:creationId xmlns:a16="http://schemas.microsoft.com/office/drawing/2014/main" id="{3D1F4037-9057-D24E-B974-D9AA207FD325}"/>
              </a:ext>
            </a:extLst>
          </p:cNvPr>
          <p:cNvSpPr>
            <a:spLocks noGrp="1"/>
          </p:cNvSpPr>
          <p:nvPr>
            <p:ph type="body" idx="1"/>
          </p:nvPr>
        </p:nvSpPr>
        <p:spPr>
          <a:xfrm>
            <a:off x="838200" y="1142999"/>
            <a:ext cx="10515600" cy="5312229"/>
          </a:xfrm>
        </p:spPr>
        <p:txBody>
          <a:bodyPr>
            <a:normAutofit/>
          </a:bodyPr>
          <a:lstStyle/>
          <a:p>
            <a:endParaRPr lang="en-US" dirty="0"/>
          </a:p>
          <a:p>
            <a:endParaRPr lang="en-US" dirty="0"/>
          </a:p>
          <a:p>
            <a:endParaRPr lang="nb-NO" dirty="0"/>
          </a:p>
        </p:txBody>
      </p:sp>
      <p:sp>
        <p:nvSpPr>
          <p:cNvPr id="2" name="Title 1">
            <a:extLst>
              <a:ext uri="{FF2B5EF4-FFF2-40B4-BE49-F238E27FC236}">
                <a16:creationId xmlns:a16="http://schemas.microsoft.com/office/drawing/2014/main" id="{D6C5764E-36AE-5345-A44D-C7B73F4157A8}"/>
              </a:ext>
            </a:extLst>
          </p:cNvPr>
          <p:cNvSpPr>
            <a:spLocks noGrp="1"/>
          </p:cNvSpPr>
          <p:nvPr>
            <p:ph type="title"/>
          </p:nvPr>
        </p:nvSpPr>
        <p:spPr>
          <a:xfrm>
            <a:off x="609600" y="0"/>
            <a:ext cx="10972800" cy="1143000"/>
          </a:xfrm>
        </p:spPr>
        <p:txBody>
          <a:bodyPr/>
          <a:lstStyle/>
          <a:p>
            <a:r>
              <a:rPr lang="nb-NO"/>
              <a:t>Konklusjon:</a:t>
            </a:r>
            <a:endParaRPr lang="nb-NO" dirty="0"/>
          </a:p>
        </p:txBody>
      </p:sp>
      <p:sp>
        <p:nvSpPr>
          <p:cNvPr id="6" name="TextBox 5">
            <a:extLst>
              <a:ext uri="{FF2B5EF4-FFF2-40B4-BE49-F238E27FC236}">
                <a16:creationId xmlns:a16="http://schemas.microsoft.com/office/drawing/2014/main" id="{29C75F2E-1427-A141-BBF4-146398D8294A}"/>
              </a:ext>
            </a:extLst>
          </p:cNvPr>
          <p:cNvSpPr txBox="1"/>
          <p:nvPr/>
        </p:nvSpPr>
        <p:spPr>
          <a:xfrm>
            <a:off x="609600" y="1534886"/>
            <a:ext cx="10744200" cy="4678204"/>
          </a:xfrm>
          <a:prstGeom prst="rect">
            <a:avLst/>
          </a:prstGeom>
          <a:noFill/>
        </p:spPr>
        <p:txBody>
          <a:bodyPr wrap="square" rtlCol="0">
            <a:spAutoFit/>
          </a:bodyPr>
          <a:lstStyle/>
          <a:p>
            <a:pPr marL="285750" indent="-285750">
              <a:buFont typeface="Arial" panose="020B0604020202020204" pitchFamily="34" charset="0"/>
              <a:buChar char="•"/>
            </a:pPr>
            <a:r>
              <a:rPr lang="nb-NO" sz="2000" dirty="0"/>
              <a:t>Nå er det tid for aksjon – Fra kritikk og debatt til handling </a:t>
            </a:r>
          </a:p>
          <a:p>
            <a:endParaRPr lang="nb-NO" sz="2000" dirty="0"/>
          </a:p>
          <a:p>
            <a:pPr marL="285750" indent="-285750">
              <a:buFont typeface="Arial" panose="020B0604020202020204" pitchFamily="34" charset="0"/>
              <a:buChar char="•"/>
            </a:pPr>
            <a:r>
              <a:rPr lang="nb-NO" sz="2000" dirty="0"/>
              <a:t>Politisk ledelse og mot trengs for å skape person-sentrerte og </a:t>
            </a:r>
            <a:r>
              <a:rPr lang="nb-NO" sz="2000" dirty="0" err="1"/>
              <a:t>recovery</a:t>
            </a:r>
            <a:r>
              <a:rPr lang="nb-NO" sz="2000" dirty="0"/>
              <a:t> orienterte tjenester i Norge</a:t>
            </a:r>
          </a:p>
          <a:p>
            <a:endParaRPr lang="nb-NO" sz="2000" dirty="0"/>
          </a:p>
          <a:p>
            <a:pPr marL="285750" indent="-285750">
              <a:buFont typeface="Arial" panose="020B0604020202020204" pitchFamily="34" charset="0"/>
              <a:buChar char="•"/>
            </a:pPr>
            <a:r>
              <a:rPr lang="nb-NO" sz="2000" dirty="0"/>
              <a:t>En start med BET og medisin-frie tilbud men vi trenger å utvide det som funker og skape flere innovative / nye tjenester / (krise-team, </a:t>
            </a:r>
            <a:r>
              <a:rPr lang="nb-NO" sz="2000" dirty="0" err="1"/>
              <a:t>sanctuary</a:t>
            </a:r>
            <a:r>
              <a:rPr lang="nb-NO" sz="2000" dirty="0"/>
              <a:t> modell, </a:t>
            </a:r>
            <a:r>
              <a:rPr lang="nb-NO" sz="2000" dirty="0" err="1"/>
              <a:t>recovery</a:t>
            </a:r>
            <a:r>
              <a:rPr lang="nb-NO" sz="2000" dirty="0"/>
              <a:t> teams,  tilgang til 24/7 støtte uten tvang). Heidenheim / </a:t>
            </a:r>
            <a:r>
              <a:rPr lang="nb-NO" sz="2000"/>
              <a:t>Åpen dialog</a:t>
            </a:r>
            <a:endParaRPr lang="nb-NO" sz="2000" dirty="0"/>
          </a:p>
          <a:p>
            <a:endParaRPr lang="nb-NO" sz="2000" dirty="0"/>
          </a:p>
          <a:p>
            <a:pPr marL="342900" indent="-342900">
              <a:buFont typeface="Wingdings" pitchFamily="2" charset="2"/>
              <a:buChar char="Ø"/>
            </a:pPr>
            <a:r>
              <a:rPr lang="nb-NO" sz="2000" dirty="0"/>
              <a:t>Respekt for rettslig handleevne</a:t>
            </a:r>
          </a:p>
          <a:p>
            <a:pPr marL="342900" indent="-342900">
              <a:buFont typeface="Wingdings" pitchFamily="2" charset="2"/>
              <a:buChar char="Ø"/>
            </a:pPr>
            <a:r>
              <a:rPr lang="nb-NO" sz="2000" dirty="0"/>
              <a:t>En slutt på tvangsbasert praksis</a:t>
            </a:r>
          </a:p>
          <a:p>
            <a:pPr marL="342900" indent="-342900">
              <a:buFont typeface="Wingdings" pitchFamily="2" charset="2"/>
              <a:buChar char="Ø"/>
            </a:pPr>
            <a:r>
              <a:rPr lang="nb-NO" sz="2000" dirty="0"/>
              <a:t>Fokus på deltagelse og medvirkning</a:t>
            </a:r>
          </a:p>
          <a:p>
            <a:pPr marL="342900" indent="-342900">
              <a:buFont typeface="Wingdings" pitchFamily="2" charset="2"/>
              <a:buChar char="Ø"/>
            </a:pPr>
            <a:r>
              <a:rPr lang="nb-NO" sz="2000" dirty="0"/>
              <a:t>Inkludering i samfunnet</a:t>
            </a:r>
          </a:p>
          <a:p>
            <a:pPr marL="342900" indent="-342900">
              <a:buFont typeface="Wingdings" pitchFamily="2" charset="2"/>
              <a:buChar char="Ø"/>
            </a:pPr>
            <a:r>
              <a:rPr lang="nb-NO" sz="2000" dirty="0"/>
              <a:t>En mer holistisk tilnærming til psykisk helse som involverer hele det norske samfunnet, ikke bare psykiatri eller diagnosebaserte psykisk helse  tilbud.</a:t>
            </a:r>
          </a:p>
          <a:p>
            <a:pPr marL="285750" indent="-285750">
              <a:buFont typeface="Arial" panose="020B0604020202020204" pitchFamily="34" charset="0"/>
              <a:buChar char="•"/>
            </a:pPr>
            <a:endParaRPr lang="nb-NO" sz="1800" dirty="0"/>
          </a:p>
        </p:txBody>
      </p:sp>
    </p:spTree>
    <p:extLst>
      <p:ext uri="{BB962C8B-B14F-4D97-AF65-F5344CB8AC3E}">
        <p14:creationId xmlns:p14="http://schemas.microsoft.com/office/powerpoint/2010/main" val="4190937108"/>
      </p:ext>
    </p:extLst>
  </p:cSld>
  <p:clrMapOvr>
    <a:masterClrMapping/>
  </p:clrMapOvr>
  <p:timing>
    <p:tnLst>
      <p:par>
        <p:cTn id="1" dur="indefinite" restart="never" nodeType="tmRoot">
          <p:childTnLst>
            <p:seq concurrent="1">
              <p:cTn id="2" repeatCount="indefinite" restart="whenNotActive" fill="hold" evtFilter="cancelBubble" nodeType="interactiveSeq">
                <p:stCondLst>
                  <p:cond delay="indefinite"/>
                  <p:cond evt="onBegin" delay="0">
                    <p:tn val="1"/>
                  </p:cond>
                </p:stCondLst>
                <p:endSync evt="end" delay="0">
                  <p:rtn val="all"/>
                </p:endSync>
                <p:childTnLst>
                  <p:par>
                    <p:cTn id="3" fill="hold">
                      <p:stCondLst>
                        <p:cond delay="0"/>
                      </p:stCondLst>
                      <p:childTnLst>
                        <p:par>
                          <p:cTn id="4" fill="hold">
                            <p:stCondLst>
                              <p:cond delay="0"/>
                            </p:stCondLst>
                            <p:childTnLst>
                              <p:par>
                                <p:cTn id="5" presetID="0" presetClass="path" presetSubtype="0" accel="50000" decel="50000" fill="hold" nodeType="clickEffect">
                                  <p:stCondLst>
                                    <p:cond delay="0"/>
                                  </p:stCondLst>
                                  <p:childTnLst>
                                    <p:animMotion origin="layout" path="M 0 2.96296E-6 L 0.24922 0.53472 " pathEditMode="relative" rAng="0" ptsTypes="AA">
                                      <p:cBhvr>
                                        <p:cTn id="6" dur="30000" fill="hold"/>
                                        <p:tgtEl>
                                          <p:spTgt spid="4"/>
                                        </p:tgtEl>
                                        <p:attrNameLst>
                                          <p:attrName>ppt_x</p:attrName>
                                          <p:attrName>ppt_y</p:attrName>
                                        </p:attrNameLst>
                                      </p:cBhvr>
                                      <p:rCtr x="12461" y="26736"/>
                                    </p:animMotion>
                                  </p:childTnLst>
                                </p:cTn>
                              </p:par>
                              <p:par>
                                <p:cTn id="7" presetID="6" presetClass="emph" presetSubtype="0" accel="50000" decel="50000" fill="hold" nodeType="withEffect">
                                  <p:stCondLst>
                                    <p:cond delay="0"/>
                                  </p:stCondLst>
                                  <p:childTnLst>
                                    <p:animScale>
                                      <p:cBhvr>
                                        <p:cTn id="8" dur="30000" fill="hold"/>
                                        <p:tgtEl>
                                          <p:spTgt spid="4"/>
                                        </p:tgtEl>
                                      </p:cBhvr>
                                      <p:by x="150000" y="150000"/>
                                    </p:animScale>
                                  </p:childTnLst>
                                </p:cTn>
                              </p:par>
                            </p:childTnLst>
                          </p:cTn>
                        </p:par>
                        <p:par>
                          <p:cTn id="9" fill="hold">
                            <p:stCondLst>
                              <p:cond delay="30000"/>
                            </p:stCondLst>
                            <p:childTnLst>
                              <p:par>
                                <p:cTn id="10" presetID="0" presetClass="path" presetSubtype="0" accel="50000" decel="50000" fill="hold" nodeType="afterEffect">
                                  <p:stCondLst>
                                    <p:cond delay="5000"/>
                                  </p:stCondLst>
                                  <p:childTnLst>
                                    <p:animMotion origin="layout" path="M 0.24922 0.53472 L -0.24922 0.4919 " pathEditMode="relative" rAng="0" ptsTypes="AA">
                                      <p:cBhvr>
                                        <p:cTn id="11" dur="30000" fill="hold"/>
                                        <p:tgtEl>
                                          <p:spTgt spid="4"/>
                                        </p:tgtEl>
                                        <p:attrNameLst>
                                          <p:attrName>ppt_x</p:attrName>
                                          <p:attrName>ppt_y</p:attrName>
                                        </p:attrNameLst>
                                      </p:cBhvr>
                                      <p:rCtr x="-24922" y="-2153"/>
                                    </p:animMotion>
                                  </p:childTnLst>
                                </p:cTn>
                              </p:par>
                            </p:childTnLst>
                          </p:cTn>
                        </p:par>
                        <p:par>
                          <p:cTn id="12" fill="hold">
                            <p:stCondLst>
                              <p:cond delay="65000"/>
                            </p:stCondLst>
                            <p:childTnLst>
                              <p:par>
                                <p:cTn id="13" presetID="0" presetClass="path" presetSubtype="0" accel="50000" decel="50000" fill="hold" nodeType="afterEffect">
                                  <p:stCondLst>
                                    <p:cond delay="5000"/>
                                  </p:stCondLst>
                                  <p:childTnLst>
                                    <p:animMotion origin="layout" path="M -0.24922 0.4919 L 0.24922 -0.0125 " pathEditMode="relative" rAng="0" ptsTypes="AA">
                                      <p:cBhvr>
                                        <p:cTn id="14" dur="30000" fill="hold"/>
                                        <p:tgtEl>
                                          <p:spTgt spid="4"/>
                                        </p:tgtEl>
                                        <p:attrNameLst>
                                          <p:attrName>ppt_x</p:attrName>
                                          <p:attrName>ppt_y</p:attrName>
                                        </p:attrNameLst>
                                      </p:cBhvr>
                                      <p:rCtr x="24922" y="-25231"/>
                                    </p:animMotion>
                                  </p:childTnLst>
                                </p:cTn>
                              </p:par>
                            </p:childTnLst>
                          </p:cTn>
                        </p:par>
                        <p:par>
                          <p:cTn id="15" fill="hold">
                            <p:stCondLst>
                              <p:cond delay="100000"/>
                            </p:stCondLst>
                            <p:childTnLst>
                              <p:par>
                                <p:cTn id="16" presetID="0" presetClass="path" presetSubtype="0" accel="50000" decel="50000" fill="hold" nodeType="afterEffect">
                                  <p:stCondLst>
                                    <p:cond delay="5000"/>
                                  </p:stCondLst>
                                  <p:childTnLst>
                                    <p:animMotion origin="layout" path="M 0.24922 -0.0125 L -0.24922 -0.06598 " pathEditMode="relative" rAng="0" ptsTypes="AA">
                                      <p:cBhvr>
                                        <p:cTn id="17" dur="30000" fill="hold"/>
                                        <p:tgtEl>
                                          <p:spTgt spid="4"/>
                                        </p:tgtEl>
                                        <p:attrNameLst>
                                          <p:attrName>ppt_x</p:attrName>
                                          <p:attrName>ppt_y</p:attrName>
                                        </p:attrNameLst>
                                      </p:cBhvr>
                                      <p:rCtr x="-24922" y="-2685"/>
                                    </p:animMotion>
                                  </p:childTnLst>
                                </p:cTn>
                              </p:par>
                            </p:childTnLst>
                          </p:cTn>
                        </p:par>
                        <p:par>
                          <p:cTn id="18" fill="hold">
                            <p:stCondLst>
                              <p:cond delay="135000"/>
                            </p:stCondLst>
                            <p:childTnLst>
                              <p:par>
                                <p:cTn id="19" presetID="0" presetClass="path" presetSubtype="0" accel="50000" decel="50000" fill="hold" nodeType="afterEffect">
                                  <p:stCondLst>
                                    <p:cond delay="5000"/>
                                  </p:stCondLst>
                                  <p:childTnLst>
                                    <p:animMotion origin="layout" path="M -0.24922 -0.06598 L 0.24922 -0.61621 " pathEditMode="relative" rAng="0" ptsTypes="AA">
                                      <p:cBhvr>
                                        <p:cTn id="20" dur="30000" fill="hold"/>
                                        <p:tgtEl>
                                          <p:spTgt spid="4"/>
                                        </p:tgtEl>
                                        <p:attrNameLst>
                                          <p:attrName>ppt_x</p:attrName>
                                          <p:attrName>ppt_y</p:attrName>
                                        </p:attrNameLst>
                                      </p:cBhvr>
                                      <p:rCtr x="24922" y="-27523"/>
                                    </p:animMotion>
                                  </p:childTnLst>
                                </p:cTn>
                              </p:par>
                            </p:childTnLst>
                          </p:cTn>
                        </p:par>
                        <p:par>
                          <p:cTn id="21" fill="hold">
                            <p:stCondLst>
                              <p:cond delay="170000"/>
                            </p:stCondLst>
                            <p:childTnLst>
                              <p:par>
                                <p:cTn id="22" presetID="0" presetClass="path" presetSubtype="0" accel="50000" decel="50000" fill="hold" nodeType="afterEffect">
                                  <p:stCondLst>
                                    <p:cond delay="5000"/>
                                  </p:stCondLst>
                                  <p:childTnLst>
                                    <p:animMotion origin="layout" path="M 0.24922 -0.61621 L -0.24922 -0.6 " pathEditMode="relative" rAng="0" ptsTypes="AA">
                                      <p:cBhvr>
                                        <p:cTn id="23" dur="30000" fill="hold"/>
                                        <p:tgtEl>
                                          <p:spTgt spid="4"/>
                                        </p:tgtEl>
                                        <p:attrNameLst>
                                          <p:attrName>ppt_x</p:attrName>
                                          <p:attrName>ppt_y</p:attrName>
                                        </p:attrNameLst>
                                      </p:cBhvr>
                                      <p:rCtr x="-24922" y="810"/>
                                    </p:animMotion>
                                  </p:childTnLst>
                                </p:cTn>
                              </p:par>
                            </p:childTnLst>
                          </p:cTn>
                        </p:par>
                        <p:par>
                          <p:cTn id="24" fill="hold">
                            <p:stCondLst>
                              <p:cond delay="205000"/>
                            </p:stCondLst>
                            <p:childTnLst>
                              <p:par>
                                <p:cTn id="25" presetID="0" presetClass="path" presetSubtype="0" accel="50000" decel="50000" fill="hold" nodeType="afterEffect">
                                  <p:stCondLst>
                                    <p:cond delay="5000"/>
                                  </p:stCondLst>
                                  <p:childTnLst>
                                    <p:animMotion origin="layout" path="M -0.24922 -0.6 L 0 2.96296E-6 " pathEditMode="relative" rAng="0" ptsTypes="AA">
                                      <p:cBhvr>
                                        <p:cTn id="26" dur="30000" fill="hold"/>
                                        <p:tgtEl>
                                          <p:spTgt spid="4"/>
                                        </p:tgtEl>
                                        <p:attrNameLst>
                                          <p:attrName>ppt_x</p:attrName>
                                          <p:attrName>ppt_y</p:attrName>
                                        </p:attrNameLst>
                                      </p:cBhvr>
                                      <p:rCtr x="12461" y="30000"/>
                                    </p:animMotion>
                                  </p:childTnLst>
                                </p:cTn>
                              </p:par>
                              <p:par>
                                <p:cTn id="27" presetID="6" presetClass="emph" presetSubtype="0" accel="50000" decel="50000" fill="hold" nodeType="withEffect">
                                  <p:stCondLst>
                                    <p:cond delay="5000"/>
                                  </p:stCondLst>
                                  <p:childTnLst>
                                    <p:animScale>
                                      <p:cBhvr>
                                        <p:cTn id="28" dur="30000" fill="hold"/>
                                        <p:tgtEl>
                                          <p:spTgt spid="4"/>
                                        </p:tgtEl>
                                      </p:cBhvr>
                                      <p:by x="150000" y="150000"/>
                                      <p:to x="100000" y="100000"/>
                                    </p:animScale>
                                  </p:childTnLst>
                                </p:cTn>
                              </p:par>
                            </p:childTnLst>
                          </p:cTn>
                        </p:par>
                        <p:par>
                          <p:cTn id="29" fill="hold">
                            <p:stCondLst>
                              <p:cond delay="240000"/>
                            </p:stCondLst>
                            <p:childTnLst>
                              <p:par>
                                <p:cTn id="30" presetID="0" presetClass="path" presetSubtype="0" accel="50000" decel="50000" fill="hold" nodeType="afterEffect">
                                  <p:stCondLst>
                                    <p:cond delay="0"/>
                                  </p:stCondLst>
                                  <p:childTnLst>
                                    <p:animMotion origin="layout" path="M 0 2.96296E-6 L 0 0.00023 " pathEditMode="relative" rAng="0" ptsTypes="AA">
                                      <p:cBhvr>
                                        <p:cTn id="31" dur="5000" fill="hold"/>
                                        <p:tgtEl>
                                          <p:spTgt spid="4"/>
                                        </p:tgtEl>
                                        <p:attrNameLst>
                                          <p:attrName>ppt_x</p:attrName>
                                          <p:attrName>ppt_y</p:attrName>
                                        </p:attrNameLst>
                                      </p:cBhvr>
                                      <p:rCtr x="0" y="0"/>
                                    </p:animMotion>
                                  </p:childTnLst>
                                </p:cTn>
                              </p:par>
                            </p:childTnLst>
                          </p:cTn>
                        </p:par>
                      </p:childTnLst>
                    </p:cTn>
                  </p:par>
                </p:childTnLst>
              </p:cTn>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F68D92-01D1-324B-A3A7-7D8E701AAB59}"/>
              </a:ext>
            </a:extLst>
          </p:cNvPr>
          <p:cNvSpPr>
            <a:spLocks noGrp="1"/>
          </p:cNvSpPr>
          <p:nvPr>
            <p:ph type="body" idx="1"/>
          </p:nvPr>
        </p:nvSpPr>
        <p:spPr>
          <a:xfrm>
            <a:off x="838199" y="762000"/>
            <a:ext cx="10853058" cy="5736535"/>
          </a:xfrm>
        </p:spPr>
        <p:txBody>
          <a:bodyPr>
            <a:normAutofit fontScale="25000" lnSpcReduction="20000"/>
          </a:bodyPr>
          <a:lstStyle/>
          <a:p>
            <a:pPr marL="514350" indent="-514350">
              <a:lnSpc>
                <a:spcPct val="120000"/>
              </a:lnSpc>
              <a:buFont typeface="+mj-lt"/>
              <a:buAutoNum type="arabicPeriod"/>
            </a:pPr>
            <a:endParaRPr lang="en-US" sz="5600" dirty="0"/>
          </a:p>
          <a:p>
            <a:pPr marL="514350" indent="-514350">
              <a:lnSpc>
                <a:spcPct val="120000"/>
              </a:lnSpc>
              <a:buFont typeface="+mj-lt"/>
              <a:buAutoNum type="arabicPeriod"/>
            </a:pPr>
            <a:r>
              <a:rPr lang="en-US" sz="5600" dirty="0"/>
              <a:t>UN Human Rights Council. Report of the special rapporteur on the right of everyone to the enjoyment of the highest attainable standard of physical and mental health. A/HRC/35/21. United </a:t>
            </a:r>
            <a:r>
              <a:rPr lang="en-US" sz="5600" dirty="0" err="1"/>
              <a:t>Nations.</a:t>
            </a:r>
            <a:r>
              <a:rPr lang="en-US" sz="5600" dirty="0" err="1">
                <a:hlinkClick r:id="rId2"/>
              </a:rPr>
              <a:t>http</a:t>
            </a:r>
            <a:r>
              <a:rPr lang="en-US" sz="5600" dirty="0">
                <a:hlinkClick r:id="rId2"/>
              </a:rPr>
              <a:t>://ap.ohchr.org/documents/dpage_e.aspx?si=A/HRC/35/21</a:t>
            </a:r>
            <a:endParaRPr lang="en-US" sz="5600" dirty="0"/>
          </a:p>
          <a:p>
            <a:pPr marL="514350" indent="-514350">
              <a:lnSpc>
                <a:spcPct val="120000"/>
              </a:lnSpc>
              <a:buFont typeface="+mj-lt"/>
              <a:buAutoNum type="arabicPeriod"/>
            </a:pPr>
            <a:r>
              <a:rPr lang="en-US" sz="5600" dirty="0"/>
              <a:t>Funk, M; Drew N. </a:t>
            </a:r>
            <a:r>
              <a:rPr lang="en-US" sz="5600" b="1" dirty="0"/>
              <a:t>WHO QualityRights: transforming mental health services. </a:t>
            </a:r>
            <a:r>
              <a:rPr lang="en-US" sz="5600" dirty="0"/>
              <a:t>The Lancet Psychiatry. July 2017</a:t>
            </a:r>
          </a:p>
          <a:p>
            <a:pPr marL="514350" indent="-514350">
              <a:lnSpc>
                <a:spcPct val="120000"/>
              </a:lnSpc>
              <a:buFont typeface="+mj-lt"/>
              <a:buAutoNum type="arabicPeriod"/>
            </a:pPr>
            <a:r>
              <a:rPr lang="en-US" sz="5600" dirty="0"/>
              <a:t>WHO. ((accessed June 8, 2017).)WHO QualityRights initiative – improving quality, promoting human rights. World Health Organization, ; 2017</a:t>
            </a:r>
            <a:r>
              <a:rPr lang="en-US" sz="5600" dirty="0">
                <a:hlinkClick r:id="rId3"/>
              </a:rPr>
              <a:t>http://www.who.int/mental_health/policy/quality_rights/en/</a:t>
            </a:r>
            <a:endParaRPr lang="en-US" sz="5600" dirty="0"/>
          </a:p>
          <a:p>
            <a:pPr marL="514350" indent="-514350">
              <a:lnSpc>
                <a:spcPct val="120000"/>
              </a:lnSpc>
              <a:buFont typeface="+mj-lt"/>
              <a:buAutoNum type="arabicPeriod"/>
            </a:pPr>
            <a:r>
              <a:rPr lang="en-US" sz="5600" i="1" dirty="0"/>
              <a:t>WHO QualityRights tool kit to assess and improve quality and human rights in mental health and social care facilities</a:t>
            </a:r>
            <a:r>
              <a:rPr lang="en-US" sz="5600" dirty="0"/>
              <a:t>. Geneva, World Health Organization, 2012. </a:t>
            </a:r>
          </a:p>
          <a:p>
            <a:pPr marL="514350" indent="-514350">
              <a:lnSpc>
                <a:spcPct val="120000"/>
              </a:lnSpc>
              <a:buFont typeface="+mj-lt"/>
              <a:buAutoNum type="arabicPeriod"/>
            </a:pPr>
            <a:r>
              <a:rPr lang="en-GB" sz="5600" dirty="0"/>
              <a:t>The United Nations. Convention on the Rights of Persons with Disabilities, arts. 12 and14, Committee on the Rights of Persons with Disabilities, general comment No. 1 and guidelines on article 14 of the Convention. 2008</a:t>
            </a:r>
            <a:endParaRPr lang="en-US" sz="5600" dirty="0"/>
          </a:p>
          <a:p>
            <a:pPr marL="514350" indent="-514350">
              <a:lnSpc>
                <a:spcPct val="120000"/>
              </a:lnSpc>
              <a:buFont typeface="+mj-lt"/>
              <a:buAutoNum type="arabicPeriod" startAt="6"/>
            </a:pPr>
            <a:r>
              <a:rPr lang="en-US" sz="5600" dirty="0"/>
              <a:t>Promoting human rights in mental health - WHO QualityRights training to act, unite and empower for mental health (pilot version). Geneva: World Health Organization; 2017 (WHO/MSD/MHP/17.2). </a:t>
            </a:r>
            <a:r>
              <a:rPr lang="en-US" sz="5600" dirty="0" err="1"/>
              <a:t>Licence</a:t>
            </a:r>
            <a:r>
              <a:rPr lang="en-US" sz="5600" dirty="0"/>
              <a:t>: CC BY-NC-SA 3.0 IGO</a:t>
            </a:r>
          </a:p>
          <a:p>
            <a:pPr marL="514350" indent="-514350">
              <a:lnSpc>
                <a:spcPct val="120000"/>
              </a:lnSpc>
              <a:buFont typeface="+mj-lt"/>
              <a:buAutoNum type="arabicPeriod" startAt="6"/>
            </a:pPr>
            <a:r>
              <a:rPr lang="en-US" sz="5600" dirty="0" err="1"/>
              <a:t>Pathare</a:t>
            </a:r>
            <a:r>
              <a:rPr lang="en-US" sz="5600" dirty="0"/>
              <a:t>, S, </a:t>
            </a:r>
            <a:r>
              <a:rPr lang="en-US" sz="5600" dirty="0" err="1"/>
              <a:t>Kalha</a:t>
            </a:r>
            <a:r>
              <a:rPr lang="en-US" sz="5600" dirty="0"/>
              <a:t>, J, Joseph, T, Funk, M, Drew-Bold, N, and </a:t>
            </a:r>
            <a:r>
              <a:rPr lang="en-US" sz="5600" dirty="0" err="1"/>
              <a:t>Khenti</a:t>
            </a:r>
            <a:r>
              <a:rPr lang="en-US" sz="5600" dirty="0"/>
              <a:t>, A. QualityRights Gujarat. in: P Kerrigan, S Bhattacharya, S Peel, M Romero Sá, R Kishore, A Wade (Eds.) Mental health: pasts, current trends and futures. Centre for Global Health Histories, University of York. Orient </a:t>
            </a:r>
            <a:r>
              <a:rPr lang="en-US" sz="5600" dirty="0" err="1"/>
              <a:t>Blackswan</a:t>
            </a:r>
            <a:r>
              <a:rPr lang="en-US" sz="5600" dirty="0"/>
              <a:t>, York, UK; 2017: 64–78</a:t>
            </a:r>
          </a:p>
          <a:p>
            <a:pPr marL="514350" indent="-514350">
              <a:lnSpc>
                <a:spcPct val="120000"/>
              </a:lnSpc>
              <a:buFont typeface="+mj-lt"/>
              <a:buAutoNum type="arabicPeriod" startAt="6"/>
            </a:pPr>
            <a:r>
              <a:rPr lang="en-US" sz="5600" dirty="0" err="1"/>
              <a:t>Pathare</a:t>
            </a:r>
            <a:r>
              <a:rPr lang="en-US" sz="5600" dirty="0"/>
              <a:t>, Funk, Drew et al. </a:t>
            </a:r>
            <a:r>
              <a:rPr lang="en-CA" sz="5600" dirty="0"/>
              <a:t>A Systematic Impact Evaluation of Implementation of QualityRights Program in Public Mental Health Facilities in Gujarat, India</a:t>
            </a:r>
            <a:r>
              <a:rPr lang="en-GB" sz="5600" dirty="0"/>
              <a:t> (</a:t>
            </a:r>
            <a:r>
              <a:rPr lang="en-US" sz="5600" dirty="0"/>
              <a:t>Pending publication)</a:t>
            </a:r>
          </a:p>
          <a:p>
            <a:pPr marL="514350" indent="-514350">
              <a:lnSpc>
                <a:spcPct val="120000"/>
              </a:lnSpc>
              <a:buFont typeface="+mj-lt"/>
              <a:buAutoNum type="arabicPeriod" startAt="6"/>
            </a:pPr>
            <a:r>
              <a:rPr lang="en-US" sz="5600" dirty="0"/>
              <a:t>Shah et al. Impact of Quality Rights Gujarat program on dropout rates of patients visiting outpatient psychiatry department of tertiary care hospital. Asian Journal of Psychiatry 28 (2017) 4-8</a:t>
            </a:r>
          </a:p>
          <a:p>
            <a:pPr marL="514350" indent="-514350">
              <a:lnSpc>
                <a:spcPct val="120000"/>
              </a:lnSpc>
              <a:buFont typeface="+mj-lt"/>
              <a:buAutoNum type="arabicPeriod" startAt="6"/>
            </a:pPr>
            <a:r>
              <a:rPr lang="en-US" sz="5600" dirty="0"/>
              <a:t>Australian Department of Health. The firth National Mental Health and Suicide Prevention Plan 2017-2022</a:t>
            </a:r>
          </a:p>
          <a:p>
            <a:pPr marL="514350" indent="-514350">
              <a:buFont typeface="+mj-lt"/>
              <a:buAutoNum type="arabicPeriod"/>
            </a:pPr>
            <a:endParaRPr lang="en-GB" dirty="0"/>
          </a:p>
          <a:p>
            <a:pPr marL="514350" indent="-514350">
              <a:buFont typeface="+mj-lt"/>
              <a:buAutoNum type="arabicPeriod"/>
            </a:pPr>
            <a:endParaRPr lang="nb-NO" dirty="0"/>
          </a:p>
        </p:txBody>
      </p:sp>
      <p:sp>
        <p:nvSpPr>
          <p:cNvPr id="3" name="Title 2">
            <a:extLst>
              <a:ext uri="{FF2B5EF4-FFF2-40B4-BE49-F238E27FC236}">
                <a16:creationId xmlns:a16="http://schemas.microsoft.com/office/drawing/2014/main" id="{C87B01BA-A02E-2E4B-8CC1-142F1DAF0479}"/>
              </a:ext>
            </a:extLst>
          </p:cNvPr>
          <p:cNvSpPr>
            <a:spLocks noGrp="1"/>
          </p:cNvSpPr>
          <p:nvPr>
            <p:ph type="title"/>
          </p:nvPr>
        </p:nvSpPr>
        <p:spPr>
          <a:xfrm>
            <a:off x="609600" y="359465"/>
            <a:ext cx="9220200" cy="402535"/>
          </a:xfrm>
        </p:spPr>
        <p:txBody>
          <a:bodyPr>
            <a:normAutofit/>
          </a:bodyPr>
          <a:lstStyle/>
          <a:p>
            <a:r>
              <a:rPr lang="nb-NO" sz="1800" b="1" u="sng" dirty="0"/>
              <a:t>References</a:t>
            </a:r>
          </a:p>
        </p:txBody>
      </p:sp>
    </p:spTree>
    <p:extLst>
      <p:ext uri="{BB962C8B-B14F-4D97-AF65-F5344CB8AC3E}">
        <p14:creationId xmlns:p14="http://schemas.microsoft.com/office/powerpoint/2010/main" val="738847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1" name="Rectangle 70">
            <a:extLst>
              <a:ext uri="{FF2B5EF4-FFF2-40B4-BE49-F238E27FC236}">
                <a16:creationId xmlns:a16="http://schemas.microsoft.com/office/drawing/2014/main" id="{8FC9BE17-9A7B-462D-AE50-3D87773873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7282" name="Picture 2" descr="Seamus Heaney | surface &amp; surface">
            <a:extLst>
              <a:ext uri="{FF2B5EF4-FFF2-40B4-BE49-F238E27FC236}">
                <a16:creationId xmlns:a16="http://schemas.microsoft.com/office/drawing/2014/main" id="{4568F40C-EEC5-27CF-3AC6-DDD34880E9C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7660" r="8575" b="15796"/>
          <a:stretch/>
        </p:blipFill>
        <p:spPr bwMode="auto">
          <a:xfrm>
            <a:off x="3523488" y="10"/>
            <a:ext cx="8668512" cy="6857990"/>
          </a:xfrm>
          <a:prstGeom prst="rect">
            <a:avLst/>
          </a:prstGeom>
          <a:noFill/>
          <a:extLst>
            <a:ext uri="{909E8E84-426E-40DD-AFC4-6F175D3DCCD1}">
              <a14:hiddenFill xmlns:a14="http://schemas.microsoft.com/office/drawing/2010/main">
                <a:solidFill>
                  <a:srgbClr val="FFFFFF"/>
                </a:solidFill>
              </a14:hiddenFill>
            </a:ext>
          </a:extLst>
        </p:spPr>
      </p:pic>
      <p:sp>
        <p:nvSpPr>
          <p:cNvPr id="73" name="Rectangle 72">
            <a:extLst>
              <a:ext uri="{FF2B5EF4-FFF2-40B4-BE49-F238E27FC236}">
                <a16:creationId xmlns:a16="http://schemas.microsoft.com/office/drawing/2014/main" id="{3EBE8569-6AEC-4B8C-8D53-2DE337CDBA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Rectangle 74">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77" name="Rectangle 76">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9144"/>
          </a:xfrm>
          <a:prstGeom prst="rect">
            <a:avLst/>
          </a:prstGeom>
          <a:solidFill>
            <a:srgbClr val="D5D5D5"/>
          </a:solidFill>
          <a:ln w="3175">
            <a:solidFill>
              <a:srgbClr val="D5D5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 Placeholder 1">
            <a:extLst>
              <a:ext uri="{FF2B5EF4-FFF2-40B4-BE49-F238E27FC236}">
                <a16:creationId xmlns:a16="http://schemas.microsoft.com/office/drawing/2014/main" id="{9BDB73FF-6910-B11A-1051-6F82AA4B6E5D}"/>
              </a:ext>
            </a:extLst>
          </p:cNvPr>
          <p:cNvSpPr>
            <a:spLocks noGrp="1"/>
          </p:cNvSpPr>
          <p:nvPr>
            <p:ph type="body" idx="1"/>
          </p:nvPr>
        </p:nvSpPr>
        <p:spPr>
          <a:xfrm>
            <a:off x="256412" y="2452624"/>
            <a:ext cx="4758039" cy="3207258"/>
          </a:xfrm>
        </p:spPr>
        <p:txBody>
          <a:bodyPr vert="horz" lIns="91440" tIns="45720" rIns="91440" bIns="45720" rtlCol="0" anchor="t">
            <a:normAutofit/>
          </a:bodyPr>
          <a:lstStyle/>
          <a:p>
            <a:pPr marL="0" indent="0">
              <a:buNone/>
            </a:pPr>
            <a:r>
              <a:rPr lang="en-US" sz="2400" dirty="0"/>
              <a:t>So hope for a great sea-change</a:t>
            </a:r>
            <a:br>
              <a:rPr lang="en-US" sz="2400" dirty="0"/>
            </a:br>
            <a:r>
              <a:rPr lang="en-US" sz="2400" dirty="0"/>
              <a:t>On the far side of revenge.</a:t>
            </a:r>
            <a:br>
              <a:rPr lang="en-US" sz="2400" dirty="0"/>
            </a:br>
            <a:r>
              <a:rPr lang="en-US" sz="2400" dirty="0"/>
              <a:t>Believe that a farther shore</a:t>
            </a:r>
            <a:br>
              <a:rPr lang="en-US" sz="2400" dirty="0"/>
            </a:br>
            <a:r>
              <a:rPr lang="en-US" sz="2400" dirty="0"/>
              <a:t>Is reachable from here</a:t>
            </a:r>
          </a:p>
          <a:p>
            <a:pPr marL="0" indent="0">
              <a:buNone/>
            </a:pPr>
            <a:endParaRPr lang="en-US" sz="1700" dirty="0"/>
          </a:p>
          <a:p>
            <a:pPr marL="0" indent="0">
              <a:buNone/>
            </a:pPr>
            <a:r>
              <a:rPr lang="en-US" sz="1700" dirty="0"/>
              <a:t>From: The Cure at Troy </a:t>
            </a:r>
          </a:p>
          <a:p>
            <a:pPr marL="0" indent="0">
              <a:buNone/>
            </a:pPr>
            <a:r>
              <a:rPr lang="en-US" sz="1700" dirty="0"/>
              <a:t>By Seamus Heaney</a:t>
            </a:r>
          </a:p>
          <a:p>
            <a:endParaRPr lang="en-US" sz="1700" dirty="0"/>
          </a:p>
        </p:txBody>
      </p:sp>
    </p:spTree>
    <p:extLst>
      <p:ext uri="{BB962C8B-B14F-4D97-AF65-F5344CB8AC3E}">
        <p14:creationId xmlns:p14="http://schemas.microsoft.com/office/powerpoint/2010/main" val="31244598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ext Placeholder 1">
            <a:extLst>
              <a:ext uri="{FF2B5EF4-FFF2-40B4-BE49-F238E27FC236}">
                <a16:creationId xmlns:a16="http://schemas.microsoft.com/office/drawing/2014/main" id="{9EFE1F23-2FD4-49A4-ABA0-376628007D60}"/>
              </a:ext>
            </a:extLst>
          </p:cNvPr>
          <p:cNvGraphicFramePr/>
          <p:nvPr/>
        </p:nvGraphicFramePr>
        <p:xfrm>
          <a:off x="838200" y="1253331"/>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027529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Picture 3" descr="WHO-EN-white-H">
            <a:extLst>
              <a:ext uri="{FF2B5EF4-FFF2-40B4-BE49-F238E27FC236}">
                <a16:creationId xmlns:a16="http://schemas.microsoft.com/office/drawing/2014/main" id="{52E98643-8F7A-4704-896E-5F758B9E06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7362" y="5598676"/>
            <a:ext cx="2720339" cy="886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5">
            <a:extLst>
              <a:ext uri="{FF2B5EF4-FFF2-40B4-BE49-F238E27FC236}">
                <a16:creationId xmlns:a16="http://schemas.microsoft.com/office/drawing/2014/main" id="{0AC458E6-8BE4-2544-AAF5-29BE01EE5F4A}"/>
              </a:ext>
            </a:extLst>
          </p:cNvPr>
          <p:cNvSpPr txBox="1">
            <a:spLocks noChangeArrowheads="1"/>
          </p:cNvSpPr>
          <p:nvPr/>
        </p:nvSpPr>
        <p:spPr bwMode="auto">
          <a:xfrm>
            <a:off x="1737361" y="1719438"/>
            <a:ext cx="8864600" cy="186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37931725" indent="-37474525">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defTabSz="914400" fontAlgn="base">
              <a:spcBef>
                <a:spcPct val="50000"/>
              </a:spcBef>
              <a:spcAft>
                <a:spcPct val="0"/>
              </a:spcAft>
              <a:defRPr/>
            </a:pPr>
            <a:r>
              <a:rPr lang="en-US" altLang="en-US" sz="3300" b="1" dirty="0">
                <a:latin typeface="Calibri" panose="020F0502020204030204" pitchFamily="34" charset="0"/>
                <a:cs typeface="Calibri" panose="020F0502020204030204" pitchFamily="34" charset="0"/>
              </a:rPr>
              <a:t>A</a:t>
            </a:r>
            <a:r>
              <a:rPr lang="en-US" altLang="en-US" sz="3300" b="1" dirty="0" err="1">
                <a:latin typeface="Calibri" panose="020F0502020204030204" pitchFamily="34" charset="0"/>
                <a:cs typeface="Calibri" panose="020F0502020204030204" pitchFamily="34" charset="0"/>
              </a:rPr>
              <a:t>ccess</a:t>
            </a:r>
            <a:r>
              <a:rPr lang="en-US" altLang="en-US" sz="3300" b="1" dirty="0">
                <a:latin typeface="Calibri" panose="020F0502020204030204" pitchFamily="34" charset="0"/>
                <a:cs typeface="Calibri" panose="020F0502020204030204" pitchFamily="34" charset="0"/>
              </a:rPr>
              <a:t> QualityRights e-training at:</a:t>
            </a:r>
          </a:p>
          <a:p>
            <a:pPr algn="ctr" defTabSz="914400" fontAlgn="base">
              <a:spcBef>
                <a:spcPct val="50000"/>
              </a:spcBef>
              <a:spcAft>
                <a:spcPct val="0"/>
              </a:spcAft>
              <a:defRPr/>
            </a:pPr>
            <a:r>
              <a:rPr lang="en-US" altLang="en-US" sz="3300" b="1" dirty="0">
                <a:solidFill>
                  <a:srgbClr val="0000CC"/>
                </a:solidFill>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s://www.who.int/teams/mental-health-and-substance-use/policy-law-rights/qr-e-training</a:t>
            </a:r>
            <a:r>
              <a:rPr lang="en-US" altLang="en-US" sz="3300" b="1" dirty="0">
                <a:solidFill>
                  <a:srgbClr val="0000CC"/>
                </a:solidFill>
                <a:latin typeface="Calibri" panose="020F0502020204030204" pitchFamily="34" charset="0"/>
                <a:cs typeface="Calibri" panose="020F0502020204030204" pitchFamily="34" charset="0"/>
              </a:rPr>
              <a:t> </a:t>
            </a:r>
            <a:endParaRPr lang="en-GB" altLang="en-US" sz="3300" b="1" dirty="0">
              <a:solidFill>
                <a:srgbClr val="0000CC"/>
              </a:solidFill>
              <a:latin typeface="Calibri" panose="020F0502020204030204" pitchFamily="34" charset="0"/>
              <a:cs typeface="Calibri" panose="020F0502020204030204" pitchFamily="34" charset="0"/>
            </a:endParaRPr>
          </a:p>
        </p:txBody>
      </p:sp>
      <p:grpSp>
        <p:nvGrpSpPr>
          <p:cNvPr id="8" name="Google Shape;96;p1">
            <a:extLst>
              <a:ext uri="{FF2B5EF4-FFF2-40B4-BE49-F238E27FC236}">
                <a16:creationId xmlns:a16="http://schemas.microsoft.com/office/drawing/2014/main" id="{70DC10F9-8A55-ED45-B099-0B07C3408844}"/>
              </a:ext>
            </a:extLst>
          </p:cNvPr>
          <p:cNvGrpSpPr/>
          <p:nvPr/>
        </p:nvGrpSpPr>
        <p:grpSpPr>
          <a:xfrm rot="10800000">
            <a:off x="1496914" y="5634534"/>
            <a:ext cx="9199051" cy="1257337"/>
            <a:chOff x="-44772" y="-14288"/>
            <a:chExt cx="3473771" cy="894956"/>
          </a:xfrm>
        </p:grpSpPr>
        <p:sp>
          <p:nvSpPr>
            <p:cNvPr id="11" name="Google Shape;97;p1">
              <a:extLst>
                <a:ext uri="{FF2B5EF4-FFF2-40B4-BE49-F238E27FC236}">
                  <a16:creationId xmlns:a16="http://schemas.microsoft.com/office/drawing/2014/main" id="{8C7EBAC1-C3D0-4D4A-8FFF-EA3AAFC0A297}"/>
                </a:ext>
              </a:extLst>
            </p:cNvPr>
            <p:cNvSpPr/>
            <p:nvPr/>
          </p:nvSpPr>
          <p:spPr>
            <a:xfrm rot="10800000">
              <a:off x="714370" y="-1283"/>
              <a:ext cx="2714625" cy="814944"/>
            </a:xfrm>
            <a:prstGeom prst="rtTriangle">
              <a:avLst/>
            </a:prstGeom>
            <a:solidFill>
              <a:srgbClr val="4472C4">
                <a:alpha val="20392"/>
              </a:srgbClr>
            </a:solidFill>
            <a:ln>
              <a:noFill/>
            </a:ln>
          </p:spPr>
          <p:txBody>
            <a:bodyPr spcFirstLastPara="1" wrap="square" lIns="91425" tIns="45700" rIns="91425" bIns="45700" anchor="ctr" anchorCtr="0">
              <a:noAutofit/>
            </a:bodyPr>
            <a:lstStyle/>
            <a:p>
              <a:pPr algn="ctr">
                <a:buClr>
                  <a:srgbClr val="000000"/>
                </a:buClr>
                <a:buSzPts val="1800"/>
              </a:pPr>
              <a:endParaRPr sz="1800">
                <a:solidFill>
                  <a:schemeClr val="lt1"/>
                </a:solidFill>
                <a:latin typeface="Calibri"/>
                <a:ea typeface="Calibri"/>
                <a:cs typeface="Calibri"/>
                <a:sym typeface="Calibri"/>
              </a:endParaRPr>
            </a:p>
          </p:txBody>
        </p:sp>
        <p:sp>
          <p:nvSpPr>
            <p:cNvPr id="13" name="Google Shape;98;p1">
              <a:extLst>
                <a:ext uri="{FF2B5EF4-FFF2-40B4-BE49-F238E27FC236}">
                  <a16:creationId xmlns:a16="http://schemas.microsoft.com/office/drawing/2014/main" id="{1971C816-E835-3947-93DA-758C55FEB842}"/>
                </a:ext>
              </a:extLst>
            </p:cNvPr>
            <p:cNvSpPr/>
            <p:nvPr/>
          </p:nvSpPr>
          <p:spPr>
            <a:xfrm rot="10800000">
              <a:off x="714371" y="-1"/>
              <a:ext cx="2714625" cy="654491"/>
            </a:xfrm>
            <a:prstGeom prst="rtTriangle">
              <a:avLst/>
            </a:prstGeom>
            <a:solidFill>
              <a:srgbClr val="4472C4">
                <a:alpha val="47450"/>
              </a:srgbClr>
            </a:solidFill>
            <a:ln>
              <a:noFill/>
            </a:ln>
          </p:spPr>
          <p:txBody>
            <a:bodyPr spcFirstLastPara="1" wrap="square" lIns="91425" tIns="45700" rIns="91425" bIns="45700" anchor="ctr" anchorCtr="0">
              <a:noAutofit/>
            </a:bodyPr>
            <a:lstStyle/>
            <a:p>
              <a:pPr algn="ctr">
                <a:buClr>
                  <a:srgbClr val="000000"/>
                </a:buClr>
                <a:buSzPts val="1800"/>
              </a:pPr>
              <a:endParaRPr sz="1800">
                <a:solidFill>
                  <a:schemeClr val="lt1"/>
                </a:solidFill>
                <a:latin typeface="Calibri"/>
                <a:ea typeface="Calibri"/>
                <a:cs typeface="Calibri"/>
                <a:sym typeface="Calibri"/>
              </a:endParaRPr>
            </a:p>
          </p:txBody>
        </p:sp>
        <p:sp>
          <p:nvSpPr>
            <p:cNvPr id="14" name="Google Shape;99;p1">
              <a:extLst>
                <a:ext uri="{FF2B5EF4-FFF2-40B4-BE49-F238E27FC236}">
                  <a16:creationId xmlns:a16="http://schemas.microsoft.com/office/drawing/2014/main" id="{D34942E1-347A-5441-A72F-4491D7C99D36}"/>
                </a:ext>
              </a:extLst>
            </p:cNvPr>
            <p:cNvSpPr/>
            <p:nvPr/>
          </p:nvSpPr>
          <p:spPr>
            <a:xfrm rot="10800000">
              <a:off x="714374" y="-14288"/>
              <a:ext cx="2714625" cy="471488"/>
            </a:xfrm>
            <a:prstGeom prst="rtTriangle">
              <a:avLst/>
            </a:prstGeom>
            <a:solidFill>
              <a:srgbClr val="4472C4"/>
            </a:solidFill>
            <a:ln>
              <a:noFill/>
            </a:ln>
          </p:spPr>
          <p:txBody>
            <a:bodyPr spcFirstLastPara="1" wrap="square" lIns="91425" tIns="45700" rIns="91425" bIns="45700" anchor="ctr" anchorCtr="0">
              <a:noAutofit/>
            </a:bodyPr>
            <a:lstStyle/>
            <a:p>
              <a:pPr algn="ctr">
                <a:buClr>
                  <a:srgbClr val="000000"/>
                </a:buClr>
                <a:buSzPts val="1800"/>
              </a:pPr>
              <a:endParaRPr sz="1800">
                <a:solidFill>
                  <a:schemeClr val="lt1"/>
                </a:solidFill>
                <a:latin typeface="Calibri"/>
                <a:ea typeface="Calibri"/>
                <a:cs typeface="Calibri"/>
                <a:sym typeface="Calibri"/>
              </a:endParaRPr>
            </a:p>
          </p:txBody>
        </p:sp>
        <p:sp>
          <p:nvSpPr>
            <p:cNvPr id="15" name="Google Shape;100;p1">
              <a:extLst>
                <a:ext uri="{FF2B5EF4-FFF2-40B4-BE49-F238E27FC236}">
                  <a16:creationId xmlns:a16="http://schemas.microsoft.com/office/drawing/2014/main" id="{9233F82E-3239-5043-8402-165ED74CE679}"/>
                </a:ext>
              </a:extLst>
            </p:cNvPr>
            <p:cNvSpPr/>
            <p:nvPr/>
          </p:nvSpPr>
          <p:spPr>
            <a:xfrm rot="10800000" flipH="1">
              <a:off x="-42353" y="-6118"/>
              <a:ext cx="2895611" cy="886786"/>
            </a:xfrm>
            <a:prstGeom prst="rtTriangle">
              <a:avLst/>
            </a:prstGeom>
            <a:solidFill>
              <a:srgbClr val="B3C6E7"/>
            </a:solidFill>
            <a:ln>
              <a:noFill/>
            </a:ln>
          </p:spPr>
          <p:txBody>
            <a:bodyPr spcFirstLastPara="1" wrap="square" lIns="91425" tIns="45700" rIns="91425" bIns="45700" anchor="ctr" anchorCtr="0">
              <a:noAutofit/>
            </a:bodyPr>
            <a:lstStyle/>
            <a:p>
              <a:pPr algn="ctr">
                <a:buClr>
                  <a:srgbClr val="000000"/>
                </a:buClr>
                <a:buSzPts val="1800"/>
              </a:pPr>
              <a:endParaRPr sz="1800">
                <a:solidFill>
                  <a:schemeClr val="lt1"/>
                </a:solidFill>
                <a:latin typeface="Calibri"/>
                <a:ea typeface="Calibri"/>
                <a:cs typeface="Calibri"/>
                <a:sym typeface="Calibri"/>
              </a:endParaRPr>
            </a:p>
          </p:txBody>
        </p:sp>
        <p:sp>
          <p:nvSpPr>
            <p:cNvPr id="16" name="Google Shape;101;p1">
              <a:extLst>
                <a:ext uri="{FF2B5EF4-FFF2-40B4-BE49-F238E27FC236}">
                  <a16:creationId xmlns:a16="http://schemas.microsoft.com/office/drawing/2014/main" id="{628B596E-A301-574F-9C0A-15F3A3E5D198}"/>
                </a:ext>
              </a:extLst>
            </p:cNvPr>
            <p:cNvSpPr/>
            <p:nvPr/>
          </p:nvSpPr>
          <p:spPr>
            <a:xfrm rot="10800000" flipH="1">
              <a:off x="-44772" y="-6117"/>
              <a:ext cx="3045150" cy="714376"/>
            </a:xfrm>
            <a:prstGeom prst="rtTriangle">
              <a:avLst/>
            </a:prstGeom>
            <a:solidFill>
              <a:srgbClr val="4472C4">
                <a:alpha val="47450"/>
              </a:srgbClr>
            </a:solidFill>
            <a:ln>
              <a:noFill/>
            </a:ln>
          </p:spPr>
          <p:txBody>
            <a:bodyPr spcFirstLastPara="1" wrap="square" lIns="91425" tIns="45700" rIns="91425" bIns="45700" anchor="ctr" anchorCtr="0">
              <a:noAutofit/>
            </a:bodyPr>
            <a:lstStyle/>
            <a:p>
              <a:pPr algn="ctr">
                <a:buClr>
                  <a:srgbClr val="000000"/>
                </a:buClr>
                <a:buSzPts val="1800"/>
              </a:pPr>
              <a:endParaRPr sz="1800" dirty="0">
                <a:solidFill>
                  <a:schemeClr val="lt1"/>
                </a:solidFill>
                <a:latin typeface="Calibri"/>
                <a:ea typeface="Calibri"/>
                <a:cs typeface="Calibri"/>
                <a:sym typeface="Calibri"/>
              </a:endParaRPr>
            </a:p>
          </p:txBody>
        </p:sp>
      </p:grpSp>
      <p:pic>
        <p:nvPicPr>
          <p:cNvPr id="9" name="Picture 3" descr="WHO-EN-white-H">
            <a:extLst>
              <a:ext uri="{FF2B5EF4-FFF2-40B4-BE49-F238E27FC236}">
                <a16:creationId xmlns:a16="http://schemas.microsoft.com/office/drawing/2014/main" id="{92684BD7-DE22-B347-B309-DF032D3C129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54389" y="6247835"/>
            <a:ext cx="1545505" cy="503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3">
            <a:extLst>
              <a:ext uri="{FF2B5EF4-FFF2-40B4-BE49-F238E27FC236}">
                <a16:creationId xmlns:a16="http://schemas.microsoft.com/office/drawing/2014/main" id="{665DEBF2-2251-994D-817B-CE83BE986F74}"/>
              </a:ext>
            </a:extLst>
          </p:cNvPr>
          <p:cNvPicPr>
            <a:picLocks noChangeAspect="1" noChangeArrowheads="1"/>
          </p:cNvPicPr>
          <p:nvPr/>
        </p:nvPicPr>
        <p:blipFill>
          <a:blip r:embed="rId5"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1584960" y="142240"/>
            <a:ext cx="1302888" cy="107640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Tree>
    <p:extLst>
      <p:ext uri="{BB962C8B-B14F-4D97-AF65-F5344CB8AC3E}">
        <p14:creationId xmlns:p14="http://schemas.microsoft.com/office/powerpoint/2010/main" val="12882734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Wave 3"/>
          <p:cNvSpPr/>
          <p:nvPr/>
        </p:nvSpPr>
        <p:spPr>
          <a:xfrm>
            <a:off x="1740470" y="173164"/>
            <a:ext cx="8687611" cy="5570096"/>
          </a:xfrm>
          <a:prstGeom prst="wave">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2400" dirty="0">
                <a:solidFill>
                  <a:srgbClr val="000000"/>
                </a:solidFill>
                <a:latin typeface="Calibri"/>
              </a:rPr>
              <a:t>“For decades, mental health services have been governed by a reductionist biomedical paradigm that has contributed to the exclusion, neglect, coercion and abuse of people with intellectual, cognitive and psychosocial disabilities, persons with autism and those who deviate from prevailing cultural, social and political norms”</a:t>
            </a:r>
            <a:r>
              <a:rPr lang="en-US" sz="2400" baseline="30000" dirty="0">
                <a:solidFill>
                  <a:srgbClr val="000000"/>
                </a:solidFill>
                <a:latin typeface="Calibri"/>
              </a:rPr>
              <a:t>1</a:t>
            </a:r>
            <a:endParaRPr lang="en-US" sz="2400" dirty="0">
              <a:solidFill>
                <a:srgbClr val="000000"/>
              </a:solidFill>
              <a:latin typeface="Calibri"/>
            </a:endParaRPr>
          </a:p>
          <a:p>
            <a:pPr algn="ctr" defTabSz="457200"/>
            <a:endParaRPr lang="en-US" sz="2400" dirty="0">
              <a:solidFill>
                <a:srgbClr val="000000"/>
              </a:solidFill>
              <a:latin typeface="Calibri"/>
            </a:endParaRPr>
          </a:p>
          <a:p>
            <a:pPr marL="342900" indent="-342900" algn="ctr" defTabSz="457200">
              <a:buFont typeface="Wingdings" charset="2"/>
              <a:buChar char="Ø"/>
            </a:pPr>
            <a:r>
              <a:rPr lang="en-US" sz="2400" dirty="0">
                <a:solidFill>
                  <a:srgbClr val="000000"/>
                </a:solidFill>
                <a:latin typeface="Calibri"/>
              </a:rPr>
              <a:t>Call for a paradigm shift</a:t>
            </a:r>
          </a:p>
        </p:txBody>
      </p:sp>
      <p:sp>
        <p:nvSpPr>
          <p:cNvPr id="5" name="Rectangle 4"/>
          <p:cNvSpPr/>
          <p:nvPr/>
        </p:nvSpPr>
        <p:spPr>
          <a:xfrm>
            <a:off x="1981200" y="5479833"/>
            <a:ext cx="4572000" cy="646331"/>
          </a:xfrm>
          <a:prstGeom prst="rect">
            <a:avLst/>
          </a:prstGeom>
        </p:spPr>
        <p:txBody>
          <a:bodyPr>
            <a:spAutoFit/>
          </a:bodyPr>
          <a:lstStyle/>
          <a:p>
            <a:pPr defTabSz="457200"/>
            <a:r>
              <a:rPr lang="en-US" sz="1800" b="1" u="sng" dirty="0">
                <a:solidFill>
                  <a:prstClr val="black"/>
                </a:solidFill>
                <a:latin typeface="Calibri"/>
              </a:rPr>
              <a:t>UN Special Rapporteur on the right to health</a:t>
            </a:r>
            <a:br>
              <a:rPr lang="en-US" sz="1800" b="1" u="sng" dirty="0">
                <a:solidFill>
                  <a:prstClr val="black"/>
                </a:solidFill>
                <a:latin typeface="Calibri"/>
              </a:rPr>
            </a:br>
            <a:r>
              <a:rPr lang="en-US" sz="1800" b="1" u="sng" dirty="0">
                <a:solidFill>
                  <a:prstClr val="black"/>
                </a:solidFill>
                <a:latin typeface="Calibri"/>
              </a:rPr>
              <a:t>report in May, 2017</a:t>
            </a:r>
          </a:p>
        </p:txBody>
      </p:sp>
      <p:grpSp>
        <p:nvGrpSpPr>
          <p:cNvPr id="6" name="Group 5"/>
          <p:cNvGrpSpPr>
            <a:grpSpLocks/>
          </p:cNvGrpSpPr>
          <p:nvPr/>
        </p:nvGrpSpPr>
        <p:grpSpPr bwMode="auto">
          <a:xfrm>
            <a:off x="10454260" y="5088937"/>
            <a:ext cx="1274174" cy="1308645"/>
            <a:chOff x="3276600" y="115888"/>
            <a:chExt cx="2951163" cy="2709327"/>
          </a:xfrm>
        </p:grpSpPr>
        <p:pic>
          <p:nvPicPr>
            <p:cNvPr id="7"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76600" y="115888"/>
              <a:ext cx="2951163" cy="23590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TextBox 2"/>
            <p:cNvSpPr txBox="1">
              <a:spLocks noChangeArrowheads="1"/>
            </p:cNvSpPr>
            <p:nvPr/>
          </p:nvSpPr>
          <p:spPr bwMode="auto">
            <a:xfrm>
              <a:off x="3779839" y="2060576"/>
              <a:ext cx="2016124" cy="764639"/>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charset="0"/>
                  <a:cs typeface="Arial" charset="0"/>
                </a:defRPr>
              </a:lvl1pPr>
              <a:lvl2pPr marL="742950" indent="-285750">
                <a:spcBef>
                  <a:spcPct val="20000"/>
                </a:spcBef>
                <a:buChar char="–"/>
                <a:defRPr sz="2800">
                  <a:solidFill>
                    <a:schemeClr val="tx1"/>
                  </a:solidFill>
                  <a:latin typeface="Arial" charset="0"/>
                  <a:cs typeface="Arial" charset="0"/>
                </a:defRPr>
              </a:lvl2pPr>
              <a:lvl3pPr marL="1143000" indent="-228600">
                <a:spcBef>
                  <a:spcPct val="20000"/>
                </a:spcBef>
                <a:buChar char="•"/>
                <a:defRPr sz="2400">
                  <a:solidFill>
                    <a:schemeClr val="tx1"/>
                  </a:solidFill>
                  <a:latin typeface="Arial" charset="0"/>
                  <a:cs typeface="Arial" charset="0"/>
                </a:defRPr>
              </a:lvl3pPr>
              <a:lvl4pPr marL="1600200" indent="-228600">
                <a:spcBef>
                  <a:spcPct val="20000"/>
                </a:spcBef>
                <a:buChar char="–"/>
                <a:defRPr sz="2000">
                  <a:solidFill>
                    <a:schemeClr val="tx1"/>
                  </a:solidFill>
                  <a:latin typeface="Arial" charset="0"/>
                  <a:cs typeface="Arial" charset="0"/>
                </a:defRPr>
              </a:lvl4pPr>
              <a:lvl5pPr marL="2057400" indent="-22860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defTabSz="457200">
                <a:spcBef>
                  <a:spcPct val="0"/>
                </a:spcBef>
                <a:buNone/>
              </a:pPr>
              <a:endParaRPr lang="fr-FR" altLang="en-US" sz="1800">
                <a:solidFill>
                  <a:prstClr val="black"/>
                </a:solidFill>
              </a:endParaRPr>
            </a:p>
          </p:txBody>
        </p:sp>
      </p:grpSp>
    </p:spTree>
    <p:extLst>
      <p:ext uri="{BB962C8B-B14F-4D97-AF65-F5344CB8AC3E}">
        <p14:creationId xmlns:p14="http://schemas.microsoft.com/office/powerpoint/2010/main" val="36914810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tel 1"/>
          <p:cNvSpPr>
            <a:spLocks noGrp="1"/>
          </p:cNvSpPr>
          <p:nvPr>
            <p:ph type="title"/>
          </p:nvPr>
        </p:nvSpPr>
        <p:spPr>
          <a:xfrm>
            <a:off x="4965430" y="629268"/>
            <a:ext cx="6586491" cy="1286160"/>
          </a:xfrm>
        </p:spPr>
        <p:txBody>
          <a:bodyPr anchor="b">
            <a:normAutofit/>
          </a:bodyPr>
          <a:lstStyle/>
          <a:p>
            <a:pPr eaLnBrk="1" hangingPunct="1"/>
            <a:r>
              <a:rPr lang="nb-NO" sz="4100" b="1" dirty="0">
                <a:latin typeface="Arial Narrow" panose="020B0606020202030204" pitchFamily="34" charset="0"/>
              </a:rPr>
              <a:t>Reaksjoner?</a:t>
            </a:r>
          </a:p>
        </p:txBody>
      </p:sp>
      <p:sp>
        <p:nvSpPr>
          <p:cNvPr id="12291" name="Plassholder for innhold 2"/>
          <p:cNvSpPr>
            <a:spLocks noGrp="1"/>
          </p:cNvSpPr>
          <p:nvPr>
            <p:ph idx="1"/>
          </p:nvPr>
        </p:nvSpPr>
        <p:spPr>
          <a:xfrm>
            <a:off x="4965431" y="2438400"/>
            <a:ext cx="6586489" cy="3785419"/>
          </a:xfrm>
        </p:spPr>
        <p:txBody>
          <a:bodyPr>
            <a:normAutofit/>
          </a:bodyPr>
          <a:lstStyle/>
          <a:p>
            <a:pPr marL="0" indent="0">
              <a:buNone/>
            </a:pPr>
            <a:endParaRPr lang="en-GB" sz="1900" dirty="0">
              <a:latin typeface="Arial Narrow" panose="020B0606020202030204" pitchFamily="34" charset="0"/>
            </a:endParaRPr>
          </a:p>
          <a:p>
            <a:r>
              <a:rPr lang="en-GB" sz="1900" dirty="0">
                <a:latin typeface="Arial Narrow" panose="020B0606020202030204" pitchFamily="34" charset="0"/>
              </a:rPr>
              <a:t>Er </a:t>
            </a:r>
            <a:r>
              <a:rPr lang="en-GB" sz="1900" dirty="0" err="1">
                <a:latin typeface="Arial Narrow" panose="020B0606020202030204" pitchFamily="34" charset="0"/>
              </a:rPr>
              <a:t>dette</a:t>
            </a:r>
            <a:r>
              <a:rPr lang="en-GB" sz="1900" dirty="0">
                <a:latin typeface="Arial Narrow" panose="020B0606020202030204" pitchFamily="34" charset="0"/>
              </a:rPr>
              <a:t> </a:t>
            </a:r>
            <a:r>
              <a:rPr lang="en-GB" sz="1900" dirty="0" err="1">
                <a:latin typeface="Arial Narrow" panose="020B0606020202030204" pitchFamily="34" charset="0"/>
              </a:rPr>
              <a:t>noe</a:t>
            </a:r>
            <a:r>
              <a:rPr lang="en-GB" sz="1900" dirty="0">
                <a:latin typeface="Arial Narrow" panose="020B0606020202030204" pitchFamily="34" charset="0"/>
              </a:rPr>
              <a:t> </a:t>
            </a:r>
            <a:r>
              <a:rPr lang="en-GB" sz="1900" dirty="0" err="1">
                <a:latin typeface="Arial Narrow" panose="020B0606020202030204" pitchFamily="34" charset="0"/>
              </a:rPr>
              <a:t>som</a:t>
            </a:r>
            <a:r>
              <a:rPr lang="en-GB" sz="1900" dirty="0">
                <a:latin typeface="Arial Narrow" panose="020B0606020202030204" pitchFamily="34" charset="0"/>
              </a:rPr>
              <a:t> </a:t>
            </a:r>
            <a:r>
              <a:rPr lang="en-GB" sz="1900" dirty="0" err="1">
                <a:latin typeface="Arial Narrow" panose="020B0606020202030204" pitchFamily="34" charset="0"/>
              </a:rPr>
              <a:t>dere</a:t>
            </a:r>
            <a:r>
              <a:rPr lang="en-GB" sz="1900" dirty="0">
                <a:latin typeface="Arial Narrow" panose="020B0606020202030204" pitchFamily="34" charset="0"/>
              </a:rPr>
              <a:t> </a:t>
            </a:r>
            <a:r>
              <a:rPr lang="en-GB" sz="1900" dirty="0" err="1">
                <a:latin typeface="Arial Narrow" panose="020B0606020202030204" pitchFamily="34" charset="0"/>
              </a:rPr>
              <a:t>kjenner</a:t>
            </a:r>
            <a:r>
              <a:rPr lang="en-GB" sz="1900" dirty="0">
                <a:latin typeface="Arial Narrow" panose="020B0606020202030204" pitchFamily="34" charset="0"/>
              </a:rPr>
              <a:t> seg </a:t>
            </a:r>
            <a:r>
              <a:rPr lang="en-GB" sz="1900" dirty="0" err="1">
                <a:latin typeface="Arial Narrow" panose="020B0606020202030204" pitchFamily="34" charset="0"/>
              </a:rPr>
              <a:t>igjen</a:t>
            </a:r>
            <a:r>
              <a:rPr lang="en-GB" sz="1900" dirty="0">
                <a:latin typeface="Arial Narrow" panose="020B0606020202030204" pitchFamily="34" charset="0"/>
              </a:rPr>
              <a:t> </a:t>
            </a:r>
            <a:r>
              <a:rPr lang="en-GB" sz="1900" dirty="0" err="1">
                <a:latin typeface="Arial Narrow" panose="020B0606020202030204" pitchFamily="34" charset="0"/>
              </a:rPr>
              <a:t>i</a:t>
            </a:r>
            <a:r>
              <a:rPr lang="en-GB" sz="1900" dirty="0">
                <a:latin typeface="Arial Narrow" panose="020B0606020202030204" pitchFamily="34" charset="0"/>
              </a:rPr>
              <a:t> </a:t>
            </a:r>
            <a:r>
              <a:rPr lang="en-GB" sz="1900" dirty="0" err="1">
                <a:latin typeface="Arial Narrow" panose="020B0606020202030204" pitchFamily="34" charset="0"/>
              </a:rPr>
              <a:t>som</a:t>
            </a:r>
            <a:r>
              <a:rPr lang="en-GB" sz="1900" dirty="0">
                <a:latin typeface="Arial Narrow" panose="020B0606020202030204" pitchFamily="34" charset="0"/>
              </a:rPr>
              <a:t> </a:t>
            </a:r>
            <a:r>
              <a:rPr lang="en-GB" sz="1900" dirty="0" err="1">
                <a:latin typeface="Arial Narrow" panose="020B0606020202030204" pitchFamily="34" charset="0"/>
              </a:rPr>
              <a:t>en</a:t>
            </a:r>
            <a:r>
              <a:rPr lang="en-GB" sz="1900" dirty="0">
                <a:latin typeface="Arial Narrow" panose="020B0606020202030204" pitchFamily="34" charset="0"/>
              </a:rPr>
              <a:t> del </a:t>
            </a:r>
            <a:r>
              <a:rPr lang="en-GB" sz="1900" dirty="0" err="1">
                <a:latin typeface="Arial Narrow" panose="020B0606020202030204" pitchFamily="34" charset="0"/>
              </a:rPr>
              <a:t>av</a:t>
            </a:r>
            <a:r>
              <a:rPr lang="en-GB" sz="1900" dirty="0">
                <a:latin typeface="Arial Narrow" panose="020B0606020202030204" pitchFamily="34" charset="0"/>
              </a:rPr>
              <a:t> </a:t>
            </a:r>
            <a:r>
              <a:rPr lang="en-GB" sz="1900" dirty="0" err="1">
                <a:latin typeface="Arial Narrow" panose="020B0606020202030204" pitchFamily="34" charset="0"/>
              </a:rPr>
              <a:t>fagfeltet</a:t>
            </a:r>
            <a:r>
              <a:rPr lang="en-GB" sz="1900" dirty="0">
                <a:latin typeface="Arial Narrow" panose="020B0606020202030204" pitchFamily="34" charset="0"/>
              </a:rPr>
              <a:t> </a:t>
            </a:r>
            <a:r>
              <a:rPr lang="en-GB" sz="1900" dirty="0" err="1">
                <a:latin typeface="Arial Narrow" panose="020B0606020202030204" pitchFamily="34" charset="0"/>
              </a:rPr>
              <a:t>i</a:t>
            </a:r>
            <a:r>
              <a:rPr lang="en-GB" sz="1900" dirty="0">
                <a:latin typeface="Arial Narrow" panose="020B0606020202030204" pitchFamily="34" charset="0"/>
              </a:rPr>
              <a:t> Norge?</a:t>
            </a:r>
          </a:p>
          <a:p>
            <a:r>
              <a:rPr lang="en-GB" sz="1900" dirty="0">
                <a:latin typeface="Arial Narrow" panose="020B0606020202030204" pitchFamily="34" charset="0"/>
              </a:rPr>
              <a:t>Er det </a:t>
            </a:r>
            <a:r>
              <a:rPr lang="en-GB" sz="1900" dirty="0" err="1">
                <a:latin typeface="Arial Narrow" panose="020B0606020202030204" pitchFamily="34" charset="0"/>
              </a:rPr>
              <a:t>en</a:t>
            </a:r>
            <a:r>
              <a:rPr lang="en-GB" sz="1900" dirty="0">
                <a:latin typeface="Arial Narrow" panose="020B0606020202030204" pitchFamily="34" charset="0"/>
              </a:rPr>
              <a:t> del </a:t>
            </a:r>
            <a:r>
              <a:rPr lang="en-GB" sz="1900" dirty="0" err="1">
                <a:latin typeface="Arial Narrow" panose="020B0606020202030204" pitchFamily="34" charset="0"/>
              </a:rPr>
              <a:t>av</a:t>
            </a:r>
            <a:r>
              <a:rPr lang="en-GB" sz="1900" dirty="0">
                <a:latin typeface="Arial Narrow" panose="020B0606020202030204" pitchFamily="34" charset="0"/>
              </a:rPr>
              <a:t> det </a:t>
            </a:r>
            <a:r>
              <a:rPr lang="en-GB" sz="1900" dirty="0" err="1">
                <a:latin typeface="Arial Narrow" panose="020B0606020202030204" pitchFamily="34" charset="0"/>
              </a:rPr>
              <a:t>han</a:t>
            </a:r>
            <a:r>
              <a:rPr lang="en-GB" sz="1900" dirty="0">
                <a:latin typeface="Arial Narrow" panose="020B0606020202030204" pitchFamily="34" charset="0"/>
              </a:rPr>
              <a:t> </a:t>
            </a:r>
            <a:r>
              <a:rPr lang="en-GB" sz="1900" dirty="0" err="1">
                <a:latin typeface="Arial Narrow" panose="020B0606020202030204" pitchFamily="34" charset="0"/>
              </a:rPr>
              <a:t>sier</a:t>
            </a:r>
            <a:r>
              <a:rPr lang="en-GB" sz="1900" dirty="0">
                <a:latin typeface="Arial Narrow" panose="020B0606020202030204" pitchFamily="34" charset="0"/>
              </a:rPr>
              <a:t> </a:t>
            </a:r>
            <a:r>
              <a:rPr lang="en-GB" sz="1900" dirty="0" err="1">
                <a:latin typeface="Arial Narrow" panose="020B0606020202030204" pitchFamily="34" charset="0"/>
              </a:rPr>
              <a:t>som</a:t>
            </a:r>
            <a:r>
              <a:rPr lang="en-GB" sz="1900" dirty="0">
                <a:latin typeface="Arial Narrow" panose="020B0606020202030204" pitchFamily="34" charset="0"/>
              </a:rPr>
              <a:t> du er </a:t>
            </a:r>
            <a:r>
              <a:rPr lang="en-GB" sz="1900" dirty="0" err="1">
                <a:latin typeface="Arial Narrow" panose="020B0606020202030204" pitchFamily="34" charset="0"/>
              </a:rPr>
              <a:t>enig</a:t>
            </a:r>
            <a:r>
              <a:rPr lang="en-GB" sz="1900" dirty="0">
                <a:latin typeface="Arial Narrow" panose="020B0606020202030204" pitchFamily="34" charset="0"/>
              </a:rPr>
              <a:t> </a:t>
            </a:r>
            <a:r>
              <a:rPr lang="en-GB" sz="1900" dirty="0" err="1">
                <a:latin typeface="Arial Narrow" panose="020B0606020202030204" pitchFamily="34" charset="0"/>
              </a:rPr>
              <a:t>i</a:t>
            </a:r>
            <a:r>
              <a:rPr lang="en-GB" sz="1900" dirty="0">
                <a:latin typeface="Arial Narrow" panose="020B0606020202030204" pitchFamily="34" charset="0"/>
              </a:rPr>
              <a:t>?</a:t>
            </a:r>
          </a:p>
          <a:p>
            <a:r>
              <a:rPr lang="en-GB" sz="1900" dirty="0" err="1">
                <a:latin typeface="Arial Narrow" panose="020B0606020202030204" pitchFamily="34" charset="0"/>
              </a:rPr>
              <a:t>Hva</a:t>
            </a:r>
            <a:r>
              <a:rPr lang="en-GB" sz="1900" dirty="0">
                <a:latin typeface="Arial Narrow" panose="020B0606020202030204" pitchFamily="34" charset="0"/>
              </a:rPr>
              <a:t> slags </a:t>
            </a:r>
            <a:r>
              <a:rPr lang="en-GB" sz="1900" dirty="0" err="1">
                <a:latin typeface="Arial Narrow" panose="020B0606020202030204" pitchFamily="34" charset="0"/>
              </a:rPr>
              <a:t>følelser</a:t>
            </a:r>
            <a:r>
              <a:rPr lang="en-GB" sz="1900" dirty="0">
                <a:latin typeface="Arial Narrow" panose="020B0606020202030204" pitchFamily="34" charset="0"/>
              </a:rPr>
              <a:t> / tanker </a:t>
            </a:r>
            <a:r>
              <a:rPr lang="en-GB" sz="1900" dirty="0" err="1">
                <a:latin typeface="Arial Narrow" panose="020B0606020202030204" pitchFamily="34" charset="0"/>
              </a:rPr>
              <a:t>har</a:t>
            </a:r>
            <a:r>
              <a:rPr lang="en-GB" sz="1900" dirty="0">
                <a:latin typeface="Arial Narrow" panose="020B0606020202030204" pitchFamily="34" charset="0"/>
              </a:rPr>
              <a:t> du </a:t>
            </a:r>
            <a:r>
              <a:rPr lang="en-GB" sz="1900" dirty="0" err="1">
                <a:latin typeface="Arial Narrow" panose="020B0606020202030204" pitchFamily="34" charset="0"/>
              </a:rPr>
              <a:t>knyttet</a:t>
            </a:r>
            <a:r>
              <a:rPr lang="en-GB" sz="1900" dirty="0">
                <a:latin typeface="Arial Narrow" panose="020B0606020202030204" pitchFamily="34" charset="0"/>
              </a:rPr>
              <a:t> </a:t>
            </a:r>
            <a:r>
              <a:rPr lang="en-GB" sz="1900" dirty="0" err="1">
                <a:latin typeface="Arial Narrow" panose="020B0606020202030204" pitchFamily="34" charset="0"/>
              </a:rPr>
              <a:t>opp</a:t>
            </a:r>
            <a:r>
              <a:rPr lang="en-GB" sz="1900" dirty="0">
                <a:latin typeface="Arial Narrow" panose="020B0606020202030204" pitchFamily="34" charset="0"/>
              </a:rPr>
              <a:t> mot bruk </a:t>
            </a:r>
            <a:r>
              <a:rPr lang="en-GB" sz="1900" dirty="0" err="1">
                <a:latin typeface="Arial Narrow" panose="020B0606020202030204" pitchFamily="34" charset="0"/>
              </a:rPr>
              <a:t>av</a:t>
            </a:r>
            <a:r>
              <a:rPr lang="en-GB" sz="1900" dirty="0">
                <a:latin typeface="Arial Narrow" panose="020B0606020202030204" pitchFamily="34" charset="0"/>
              </a:rPr>
              <a:t> </a:t>
            </a:r>
            <a:r>
              <a:rPr lang="en-GB" sz="1900" dirty="0" err="1">
                <a:latin typeface="Arial Narrow" panose="020B0606020202030204" pitchFamily="34" charset="0"/>
              </a:rPr>
              <a:t>tvang</a:t>
            </a:r>
            <a:r>
              <a:rPr lang="en-GB" sz="1900" dirty="0">
                <a:latin typeface="Arial Narrow" panose="020B0606020202030204" pitchFamily="34" charset="0"/>
              </a:rPr>
              <a:t> </a:t>
            </a:r>
            <a:r>
              <a:rPr lang="en-GB" sz="1900" dirty="0" err="1">
                <a:latin typeface="Arial Narrow" panose="020B0606020202030204" pitchFamily="34" charset="0"/>
              </a:rPr>
              <a:t>i</a:t>
            </a:r>
            <a:r>
              <a:rPr lang="en-GB" sz="1900" dirty="0">
                <a:latin typeface="Arial Narrow" panose="020B0606020202030204" pitchFamily="34" charset="0"/>
              </a:rPr>
              <a:t> </a:t>
            </a:r>
            <a:r>
              <a:rPr lang="en-GB" sz="1900" dirty="0" err="1">
                <a:latin typeface="Arial Narrow" panose="020B0606020202030204" pitchFamily="34" charset="0"/>
              </a:rPr>
              <a:t>psykiske</a:t>
            </a:r>
            <a:r>
              <a:rPr lang="en-GB" sz="1900" dirty="0">
                <a:latin typeface="Arial Narrow" panose="020B0606020202030204" pitchFamily="34" charset="0"/>
              </a:rPr>
              <a:t> </a:t>
            </a:r>
            <a:r>
              <a:rPr lang="en-GB" sz="1900" dirty="0" err="1">
                <a:latin typeface="Arial Narrow" panose="020B0606020202030204" pitchFamily="34" charset="0"/>
              </a:rPr>
              <a:t>helsetjenester</a:t>
            </a:r>
            <a:r>
              <a:rPr lang="en-GB" sz="1900" dirty="0">
                <a:latin typeface="Arial Narrow" panose="020B0606020202030204" pitchFamily="34" charset="0"/>
              </a:rPr>
              <a:t> ?</a:t>
            </a:r>
          </a:p>
          <a:p>
            <a:r>
              <a:rPr lang="en-GB" sz="1900" dirty="0">
                <a:latin typeface="Arial Narrow" panose="020B0606020202030204" pitchFamily="34" charset="0"/>
              </a:rPr>
              <a:t>Er det </a:t>
            </a:r>
            <a:r>
              <a:rPr lang="en-GB" sz="1900" dirty="0" err="1">
                <a:latin typeface="Arial Narrow" panose="020B0606020202030204" pitchFamily="34" charset="0"/>
              </a:rPr>
              <a:t>mulig</a:t>
            </a:r>
            <a:r>
              <a:rPr lang="en-GB" sz="1900" dirty="0">
                <a:latin typeface="Arial Narrow" panose="020B0606020202030204" pitchFamily="34" charset="0"/>
              </a:rPr>
              <a:t> </a:t>
            </a:r>
            <a:r>
              <a:rPr lang="en-GB" sz="1900" dirty="0" err="1">
                <a:latin typeface="Arial Narrow" panose="020B0606020202030204" pitchFamily="34" charset="0"/>
              </a:rPr>
              <a:t>å</a:t>
            </a:r>
            <a:r>
              <a:rPr lang="en-GB" sz="1900" dirty="0">
                <a:latin typeface="Arial Narrow" panose="020B0606020202030204" pitchFamily="34" charset="0"/>
              </a:rPr>
              <a:t> </a:t>
            </a:r>
            <a:r>
              <a:rPr lang="en-GB" sz="1900" dirty="0" err="1">
                <a:latin typeface="Arial Narrow" panose="020B0606020202030204" pitchFamily="34" charset="0"/>
              </a:rPr>
              <a:t>være</a:t>
            </a:r>
            <a:r>
              <a:rPr lang="en-GB" sz="1900" dirty="0">
                <a:latin typeface="Arial Narrow" panose="020B0606020202030204" pitchFamily="34" charset="0"/>
              </a:rPr>
              <a:t> </a:t>
            </a:r>
            <a:r>
              <a:rPr lang="en-GB" sz="1900" i="1" dirty="0" err="1">
                <a:latin typeface="Arial Narrow" panose="020B0606020202030204" pitchFamily="34" charset="0"/>
              </a:rPr>
              <a:t>psykiater</a:t>
            </a:r>
            <a:r>
              <a:rPr lang="en-GB" sz="1900" i="1" dirty="0">
                <a:latin typeface="Arial Narrow" panose="020B0606020202030204" pitchFamily="34" charset="0"/>
              </a:rPr>
              <a:t> / </a:t>
            </a:r>
            <a:r>
              <a:rPr lang="en-GB" sz="1900" i="1" dirty="0" err="1">
                <a:latin typeface="Arial Narrow" panose="020B0606020202030204" pitchFamily="34" charset="0"/>
              </a:rPr>
              <a:t>psykolog</a:t>
            </a:r>
            <a:r>
              <a:rPr lang="en-GB" sz="1900" i="1" dirty="0">
                <a:latin typeface="Arial Narrow" panose="020B0606020202030204" pitchFamily="34" charset="0"/>
              </a:rPr>
              <a:t> / </a:t>
            </a:r>
            <a:r>
              <a:rPr lang="en-GB" sz="1900" i="1" dirty="0" err="1">
                <a:latin typeface="Arial Narrow" panose="020B0606020202030204" pitchFamily="34" charset="0"/>
              </a:rPr>
              <a:t>fagperson</a:t>
            </a:r>
            <a:r>
              <a:rPr lang="en-GB" sz="1900" i="1" dirty="0">
                <a:latin typeface="Arial Narrow" panose="020B0606020202030204" pitchFamily="34" charset="0"/>
              </a:rPr>
              <a:t> / person med </a:t>
            </a:r>
            <a:r>
              <a:rPr lang="en-GB" sz="1900" i="1" dirty="0" err="1">
                <a:latin typeface="Arial Narrow" panose="020B0606020202030204" pitchFamily="34" charset="0"/>
              </a:rPr>
              <a:t>erfaring</a:t>
            </a:r>
            <a:r>
              <a:rPr lang="en-GB" sz="1900" dirty="0">
                <a:latin typeface="Arial Narrow" panose="020B0606020202030204" pitchFamily="34" charset="0"/>
              </a:rPr>
              <a:t> </a:t>
            </a:r>
            <a:r>
              <a:rPr lang="en-GB" sz="1900" dirty="0" err="1">
                <a:latin typeface="Arial Narrow" panose="020B0606020202030204" pitchFamily="34" charset="0"/>
              </a:rPr>
              <a:t>i</a:t>
            </a:r>
            <a:r>
              <a:rPr lang="en-GB" sz="1900" dirty="0">
                <a:latin typeface="Arial Narrow" panose="020B0606020202030204" pitchFamily="34" charset="0"/>
              </a:rPr>
              <a:t> Norge </a:t>
            </a:r>
            <a:r>
              <a:rPr lang="en-GB" sz="1900" dirty="0" err="1">
                <a:latin typeface="Arial Narrow" panose="020B0606020202030204" pitchFamily="34" charset="0"/>
              </a:rPr>
              <a:t>og</a:t>
            </a:r>
            <a:r>
              <a:rPr lang="en-GB" sz="1900" dirty="0">
                <a:latin typeface="Arial Narrow" panose="020B0606020202030204" pitchFamily="34" charset="0"/>
              </a:rPr>
              <a:t> </a:t>
            </a:r>
            <a:r>
              <a:rPr lang="en-GB" sz="1900" dirty="0" err="1">
                <a:latin typeface="Arial Narrow" panose="020B0606020202030204" pitchFamily="34" charset="0"/>
              </a:rPr>
              <a:t>være</a:t>
            </a:r>
            <a:r>
              <a:rPr lang="en-GB" sz="1900" dirty="0">
                <a:latin typeface="Arial Narrow" panose="020B0606020202030204" pitchFamily="34" charset="0"/>
              </a:rPr>
              <a:t> </a:t>
            </a:r>
            <a:r>
              <a:rPr lang="en-GB" sz="1900" dirty="0" err="1">
                <a:latin typeface="Arial Narrow" panose="020B0606020202030204" pitchFamily="34" charset="0"/>
              </a:rPr>
              <a:t>kritisk</a:t>
            </a:r>
            <a:r>
              <a:rPr lang="en-GB" sz="1900" dirty="0">
                <a:latin typeface="Arial Narrow" panose="020B0606020202030204" pitchFamily="34" charset="0"/>
              </a:rPr>
              <a:t> </a:t>
            </a:r>
            <a:r>
              <a:rPr lang="en-GB" sz="1900" dirty="0" err="1">
                <a:latin typeface="Arial Narrow" panose="020B0606020202030204" pitchFamily="34" charset="0"/>
              </a:rPr>
              <a:t>til</a:t>
            </a:r>
            <a:r>
              <a:rPr lang="en-GB" sz="1900" dirty="0">
                <a:latin typeface="Arial Narrow" panose="020B0606020202030204" pitchFamily="34" charset="0"/>
              </a:rPr>
              <a:t> </a:t>
            </a:r>
            <a:r>
              <a:rPr lang="en-GB" sz="1900" dirty="0" err="1">
                <a:latin typeface="Arial Narrow" panose="020B0606020202030204" pitchFamily="34" charset="0"/>
              </a:rPr>
              <a:t>systemet</a:t>
            </a:r>
            <a:r>
              <a:rPr lang="en-GB" sz="1900" dirty="0">
                <a:latin typeface="Arial Narrow" panose="020B0606020202030204" pitchFamily="34" charset="0"/>
              </a:rPr>
              <a:t> </a:t>
            </a:r>
            <a:r>
              <a:rPr lang="en-GB" sz="1900" dirty="0" err="1">
                <a:latin typeface="Arial Narrow" panose="020B0606020202030204" pitchFamily="34" charset="0"/>
              </a:rPr>
              <a:t>uten</a:t>
            </a:r>
            <a:r>
              <a:rPr lang="en-GB" sz="1900" dirty="0">
                <a:latin typeface="Arial Narrow" panose="020B0606020202030204" pitchFamily="34" charset="0"/>
              </a:rPr>
              <a:t> </a:t>
            </a:r>
            <a:r>
              <a:rPr lang="en-GB" sz="1900" dirty="0" err="1">
                <a:latin typeface="Arial Narrow" panose="020B0606020202030204" pitchFamily="34" charset="0"/>
              </a:rPr>
              <a:t>å</a:t>
            </a:r>
            <a:r>
              <a:rPr lang="en-GB" sz="1900" dirty="0">
                <a:latin typeface="Arial Narrow" panose="020B0606020202030204" pitchFamily="34" charset="0"/>
              </a:rPr>
              <a:t> </a:t>
            </a:r>
            <a:r>
              <a:rPr lang="en-GB" sz="1900" dirty="0" err="1">
                <a:latin typeface="Arial Narrow" panose="020B0606020202030204" pitchFamily="34" charset="0"/>
              </a:rPr>
              <a:t>bli</a:t>
            </a:r>
            <a:r>
              <a:rPr lang="en-GB" sz="1900" dirty="0">
                <a:latin typeface="Arial Narrow" panose="020B0606020202030204" pitchFamily="34" charset="0"/>
              </a:rPr>
              <a:t> </a:t>
            </a:r>
            <a:r>
              <a:rPr lang="en-GB" sz="1900" dirty="0" err="1">
                <a:latin typeface="Arial Narrow" panose="020B0606020202030204" pitchFamily="34" charset="0"/>
              </a:rPr>
              <a:t>stemplet</a:t>
            </a:r>
            <a:r>
              <a:rPr lang="en-GB" sz="1900" dirty="0">
                <a:latin typeface="Arial Narrow" panose="020B0606020202030204" pitchFamily="34" charset="0"/>
              </a:rPr>
              <a:t> </a:t>
            </a:r>
            <a:r>
              <a:rPr lang="en-GB" sz="1900" dirty="0" err="1">
                <a:latin typeface="Arial Narrow" panose="020B0606020202030204" pitchFamily="34" charset="0"/>
              </a:rPr>
              <a:t>som</a:t>
            </a:r>
            <a:r>
              <a:rPr lang="en-GB" sz="1900" dirty="0">
                <a:latin typeface="Arial Narrow" panose="020B0606020202030204" pitchFamily="34" charset="0"/>
              </a:rPr>
              <a:t> </a:t>
            </a:r>
            <a:r>
              <a:rPr lang="en-GB" sz="1900" dirty="0" err="1">
                <a:latin typeface="Arial Narrow" panose="020B0606020202030204" pitchFamily="34" charset="0"/>
              </a:rPr>
              <a:t>antipsykiatrisk</a:t>
            </a:r>
            <a:r>
              <a:rPr lang="en-GB" sz="1900" dirty="0">
                <a:latin typeface="Arial Narrow" panose="020B0606020202030204" pitchFamily="34" charset="0"/>
              </a:rPr>
              <a:t> / </a:t>
            </a:r>
            <a:r>
              <a:rPr lang="en-GB" sz="1900" dirty="0" err="1">
                <a:latin typeface="Arial Narrow" panose="020B0606020202030204" pitchFamily="34" charset="0"/>
              </a:rPr>
              <a:t>blir</a:t>
            </a:r>
            <a:r>
              <a:rPr lang="en-GB" sz="1900" dirty="0">
                <a:latin typeface="Arial Narrow" panose="020B0606020202030204" pitchFamily="34" charset="0"/>
              </a:rPr>
              <a:t> </a:t>
            </a:r>
            <a:r>
              <a:rPr lang="en-GB" sz="1900" dirty="0" err="1">
                <a:latin typeface="Arial Narrow" panose="020B0606020202030204" pitchFamily="34" charset="0"/>
              </a:rPr>
              <a:t>ekskommunisert</a:t>
            </a:r>
            <a:r>
              <a:rPr lang="en-GB" sz="1900" dirty="0">
                <a:latin typeface="Arial Narrow" panose="020B0606020202030204" pitchFamily="34" charset="0"/>
              </a:rPr>
              <a:t>?</a:t>
            </a:r>
          </a:p>
          <a:p>
            <a:endParaRPr lang="nb-NO" sz="1900" dirty="0">
              <a:latin typeface="Arial Narrow" panose="020B0606020202030204" pitchFamily="34" charset="0"/>
            </a:endParaRPr>
          </a:p>
        </p:txBody>
      </p:sp>
      <p:sp>
        <p:nvSpPr>
          <p:cNvPr id="4" name="Plassholder for lysbildenummer 3"/>
          <p:cNvSpPr>
            <a:spLocks noGrp="1"/>
          </p:cNvSpPr>
          <p:nvPr>
            <p:ph type="sldNum" sz="quarter" idx="12"/>
          </p:nvPr>
        </p:nvSpPr>
        <p:spPr>
          <a:xfrm>
            <a:off x="10167042" y="6356350"/>
            <a:ext cx="1186758"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B63ACC71-290A-439B-B553-21DC2B687AA2}" type="slidenum">
              <a:rPr kumimoji="0" lang="nb-NO"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5</a:t>
            </a:fld>
            <a:endParaRPr kumimoji="0" lang="nb-NO"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89C41572-0B0D-5843-AC1B-9A711AD4A34E}"/>
              </a:ext>
            </a:extLst>
          </p:cNvPr>
          <p:cNvPicPr>
            <a:picLocks noChangeAspect="1"/>
          </p:cNvPicPr>
          <p:nvPr/>
        </p:nvPicPr>
        <p:blipFill rotWithShape="1">
          <a:blip r:embed="rId3"/>
          <a:srcRect r="3438"/>
          <a:stretch/>
        </p:blipFill>
        <p:spPr>
          <a:xfrm>
            <a:off x="20" y="10"/>
            <a:ext cx="4635571" cy="6857990"/>
          </a:xfrm>
          <a:prstGeom prst="rect">
            <a:avLst/>
          </a:prstGeom>
          <a:effectLst/>
        </p:spPr>
      </p:pic>
    </p:spTree>
    <p:extLst>
      <p:ext uri="{BB962C8B-B14F-4D97-AF65-F5344CB8AC3E}">
        <p14:creationId xmlns:p14="http://schemas.microsoft.com/office/powerpoint/2010/main" val="112840703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291">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29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291">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291">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B6FACB3C-9069-4791-BC5C-0DB7CD19B8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71F2038E-D777-4B76-81DD-DD13EE91B9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0F9E3429-0B0E-B44F-BDD6-97CC3C6067FE}"/>
              </a:ext>
            </a:extLst>
          </p:cNvPr>
          <p:cNvSpPr>
            <a:spLocks noGrp="1"/>
          </p:cNvSpPr>
          <p:nvPr>
            <p:ph idx="1"/>
          </p:nvPr>
        </p:nvSpPr>
        <p:spPr>
          <a:xfrm>
            <a:off x="500743" y="587829"/>
            <a:ext cx="6866273" cy="5725885"/>
          </a:xfrm>
        </p:spPr>
        <p:txBody>
          <a:bodyPr anchor="t">
            <a:normAutofit fontScale="85000" lnSpcReduction="20000"/>
          </a:bodyPr>
          <a:lstStyle/>
          <a:p>
            <a:pPr marL="0" indent="0">
              <a:buNone/>
            </a:pPr>
            <a:endParaRPr lang="nb-NO" sz="1800" dirty="0">
              <a:solidFill>
                <a:schemeClr val="tx2"/>
              </a:solidFill>
            </a:endParaRPr>
          </a:p>
          <a:p>
            <a:pPr marL="0" indent="0">
              <a:buNone/>
            </a:pPr>
            <a:r>
              <a:rPr lang="nb-NO" b="1" dirty="0">
                <a:solidFill>
                  <a:schemeClr val="tx2"/>
                </a:solidFill>
              </a:rPr>
              <a:t>Hva er </a:t>
            </a:r>
            <a:r>
              <a:rPr lang="nb-NO" b="1" dirty="0" err="1">
                <a:solidFill>
                  <a:schemeClr val="tx2"/>
                </a:solidFill>
              </a:rPr>
              <a:t>Fn</a:t>
            </a:r>
            <a:r>
              <a:rPr lang="nb-NO" b="1" dirty="0">
                <a:solidFill>
                  <a:schemeClr val="tx2"/>
                </a:solidFill>
              </a:rPr>
              <a:t>-konvensjonen om rettighetene til mennesker med nedsatt funksjonsevne - CRPD?</a:t>
            </a:r>
          </a:p>
          <a:p>
            <a:endParaRPr lang="nb-NO" sz="2400" b="1" dirty="0">
              <a:solidFill>
                <a:schemeClr val="tx2"/>
              </a:solidFill>
            </a:endParaRPr>
          </a:p>
          <a:p>
            <a:r>
              <a:rPr lang="en-US" sz="2400" dirty="0" err="1">
                <a:solidFill>
                  <a:schemeClr val="tx2"/>
                </a:solidFill>
              </a:rPr>
              <a:t>Fn-konvensjonen</a:t>
            </a:r>
            <a:r>
              <a:rPr lang="en-US" sz="2400" dirty="0">
                <a:solidFill>
                  <a:schemeClr val="tx2"/>
                </a:solidFill>
              </a:rPr>
              <a:t> om </a:t>
            </a:r>
            <a:r>
              <a:rPr lang="en-US" sz="2400" dirty="0" err="1">
                <a:solidFill>
                  <a:schemeClr val="tx2"/>
                </a:solidFill>
              </a:rPr>
              <a:t>rettighetene</a:t>
            </a:r>
            <a:r>
              <a:rPr lang="en-US" sz="2400" dirty="0">
                <a:solidFill>
                  <a:schemeClr val="tx2"/>
                </a:solidFill>
              </a:rPr>
              <a:t> </a:t>
            </a:r>
            <a:r>
              <a:rPr lang="en-US" sz="2400" dirty="0" err="1">
                <a:solidFill>
                  <a:schemeClr val="tx2"/>
                </a:solidFill>
              </a:rPr>
              <a:t>til</a:t>
            </a:r>
            <a:r>
              <a:rPr lang="en-US" sz="2400" dirty="0">
                <a:solidFill>
                  <a:schemeClr val="tx2"/>
                </a:solidFill>
              </a:rPr>
              <a:t> </a:t>
            </a:r>
            <a:r>
              <a:rPr lang="en-US" sz="2400" dirty="0" err="1">
                <a:solidFill>
                  <a:schemeClr val="tx2"/>
                </a:solidFill>
              </a:rPr>
              <a:t>mennesker</a:t>
            </a:r>
            <a:r>
              <a:rPr lang="en-US" sz="2400" dirty="0">
                <a:solidFill>
                  <a:schemeClr val="tx2"/>
                </a:solidFill>
              </a:rPr>
              <a:t> med </a:t>
            </a:r>
            <a:r>
              <a:rPr lang="en-US" sz="2400" dirty="0" err="1">
                <a:solidFill>
                  <a:schemeClr val="tx2"/>
                </a:solidFill>
              </a:rPr>
              <a:t>nedsatt</a:t>
            </a:r>
            <a:r>
              <a:rPr lang="en-US" sz="2400" dirty="0">
                <a:solidFill>
                  <a:schemeClr val="tx2"/>
                </a:solidFill>
              </a:rPr>
              <a:t> </a:t>
            </a:r>
            <a:r>
              <a:rPr lang="en-US" sz="2400" dirty="0" err="1">
                <a:solidFill>
                  <a:schemeClr val="tx2"/>
                </a:solidFill>
              </a:rPr>
              <a:t>funksjonseven</a:t>
            </a:r>
            <a:r>
              <a:rPr lang="en-US" sz="2400" dirty="0">
                <a:solidFill>
                  <a:schemeClr val="tx2"/>
                </a:solidFill>
              </a:rPr>
              <a:t> – </a:t>
            </a:r>
            <a:r>
              <a:rPr lang="en-US" sz="2400" dirty="0" err="1">
                <a:solidFill>
                  <a:schemeClr val="tx2"/>
                </a:solidFill>
              </a:rPr>
              <a:t>trådte</a:t>
            </a:r>
            <a:r>
              <a:rPr lang="en-US" sz="2400" dirty="0">
                <a:solidFill>
                  <a:schemeClr val="tx2"/>
                </a:solidFill>
              </a:rPr>
              <a:t> I kraft </a:t>
            </a:r>
            <a:r>
              <a:rPr lang="en-US" sz="2400" dirty="0" err="1">
                <a:solidFill>
                  <a:schemeClr val="tx2"/>
                </a:solidFill>
              </a:rPr>
              <a:t>i</a:t>
            </a:r>
            <a:r>
              <a:rPr lang="en-US" sz="2400" dirty="0">
                <a:solidFill>
                  <a:schemeClr val="tx2"/>
                </a:solidFill>
              </a:rPr>
              <a:t> 2006 </a:t>
            </a:r>
          </a:p>
          <a:p>
            <a:r>
              <a:rPr lang="en-US" sz="2400" dirty="0" err="1">
                <a:solidFill>
                  <a:schemeClr val="tx2"/>
                </a:solidFill>
              </a:rPr>
              <a:t>En</a:t>
            </a:r>
            <a:r>
              <a:rPr lang="en-US" sz="2400" dirty="0">
                <a:solidFill>
                  <a:schemeClr val="tx2"/>
                </a:solidFill>
              </a:rPr>
              <a:t> </a:t>
            </a:r>
            <a:r>
              <a:rPr lang="en-US" sz="2400" dirty="0" err="1">
                <a:solidFill>
                  <a:schemeClr val="tx2"/>
                </a:solidFill>
              </a:rPr>
              <a:t>respons</a:t>
            </a:r>
            <a:r>
              <a:rPr lang="en-US" sz="2400" dirty="0">
                <a:solidFill>
                  <a:schemeClr val="tx2"/>
                </a:solidFill>
              </a:rPr>
              <a:t> </a:t>
            </a:r>
            <a:r>
              <a:rPr lang="en-US" sz="2400" dirty="0" err="1">
                <a:solidFill>
                  <a:schemeClr val="tx2"/>
                </a:solidFill>
              </a:rPr>
              <a:t>på</a:t>
            </a:r>
            <a:r>
              <a:rPr lang="en-US" sz="2400" dirty="0">
                <a:solidFill>
                  <a:schemeClr val="tx2"/>
                </a:solidFill>
              </a:rPr>
              <a:t> </a:t>
            </a:r>
            <a:r>
              <a:rPr lang="en-US" sz="2400" dirty="0" err="1">
                <a:solidFill>
                  <a:schemeClr val="tx2"/>
                </a:solidFill>
              </a:rPr>
              <a:t>diskriminering</a:t>
            </a:r>
            <a:r>
              <a:rPr lang="en-US" sz="2400" dirty="0">
                <a:solidFill>
                  <a:schemeClr val="tx2"/>
                </a:solidFill>
              </a:rPr>
              <a:t> </a:t>
            </a:r>
            <a:r>
              <a:rPr lang="en-US" sz="2400" dirty="0" err="1">
                <a:solidFill>
                  <a:schemeClr val="tx2"/>
                </a:solidFill>
              </a:rPr>
              <a:t>og</a:t>
            </a:r>
            <a:r>
              <a:rPr lang="en-US" sz="2400" dirty="0">
                <a:solidFill>
                  <a:schemeClr val="tx2"/>
                </a:solidFill>
              </a:rPr>
              <a:t> </a:t>
            </a:r>
            <a:r>
              <a:rPr lang="en-US" sz="2400" dirty="0" err="1">
                <a:solidFill>
                  <a:schemeClr val="tx2"/>
                </a:solidFill>
              </a:rPr>
              <a:t>menneskerettighetsbrudd</a:t>
            </a:r>
            <a:r>
              <a:rPr lang="en-US" sz="2400" dirty="0">
                <a:solidFill>
                  <a:schemeClr val="tx2"/>
                </a:solidFill>
              </a:rPr>
              <a:t> mot </a:t>
            </a:r>
            <a:r>
              <a:rPr lang="en-US" sz="2400" dirty="0" err="1">
                <a:solidFill>
                  <a:schemeClr val="tx2"/>
                </a:solidFill>
              </a:rPr>
              <a:t>funksjonshemmede</a:t>
            </a:r>
            <a:r>
              <a:rPr lang="en-US" sz="2400" dirty="0">
                <a:solidFill>
                  <a:schemeClr val="tx2"/>
                </a:solidFill>
              </a:rPr>
              <a:t> </a:t>
            </a:r>
            <a:r>
              <a:rPr lang="en-US" sz="2400" dirty="0" err="1">
                <a:solidFill>
                  <a:schemeClr val="tx2"/>
                </a:solidFill>
              </a:rPr>
              <a:t>i</a:t>
            </a:r>
            <a:r>
              <a:rPr lang="en-US" sz="2400" dirty="0">
                <a:solidFill>
                  <a:schemeClr val="tx2"/>
                </a:solidFill>
              </a:rPr>
              <a:t> hele </a:t>
            </a:r>
            <a:r>
              <a:rPr lang="en-US" sz="2400" dirty="0" err="1">
                <a:solidFill>
                  <a:schemeClr val="tx2"/>
                </a:solidFill>
              </a:rPr>
              <a:t>verden</a:t>
            </a:r>
            <a:r>
              <a:rPr lang="en-US" sz="2400" dirty="0">
                <a:solidFill>
                  <a:schemeClr val="tx2"/>
                </a:solidFill>
              </a:rPr>
              <a:t>. </a:t>
            </a:r>
          </a:p>
          <a:p>
            <a:r>
              <a:rPr lang="en-GB" sz="2400" dirty="0" err="1">
                <a:solidFill>
                  <a:schemeClr val="tx2"/>
                </a:solidFill>
              </a:rPr>
              <a:t>Ikke</a:t>
            </a:r>
            <a:r>
              <a:rPr lang="en-GB" sz="2400" dirty="0">
                <a:solidFill>
                  <a:schemeClr val="tx2"/>
                </a:solidFill>
              </a:rPr>
              <a:t> nye </a:t>
            </a:r>
            <a:r>
              <a:rPr lang="en-GB" sz="2400" dirty="0" err="1">
                <a:solidFill>
                  <a:schemeClr val="tx2"/>
                </a:solidFill>
              </a:rPr>
              <a:t>eller</a:t>
            </a:r>
            <a:r>
              <a:rPr lang="en-GB" sz="2400" dirty="0">
                <a:solidFill>
                  <a:schemeClr val="tx2"/>
                </a:solidFill>
              </a:rPr>
              <a:t> </a:t>
            </a:r>
            <a:r>
              <a:rPr lang="en-GB" sz="2400" dirty="0" err="1">
                <a:solidFill>
                  <a:schemeClr val="tx2"/>
                </a:solidFill>
              </a:rPr>
              <a:t>flere</a:t>
            </a:r>
            <a:r>
              <a:rPr lang="en-GB" sz="2400" dirty="0">
                <a:solidFill>
                  <a:schemeClr val="tx2"/>
                </a:solidFill>
              </a:rPr>
              <a:t> </a:t>
            </a:r>
            <a:r>
              <a:rPr lang="en-GB" sz="2400" dirty="0" err="1">
                <a:solidFill>
                  <a:schemeClr val="tx2"/>
                </a:solidFill>
              </a:rPr>
              <a:t>rettigheter</a:t>
            </a:r>
            <a:r>
              <a:rPr lang="en-GB" sz="2400" dirty="0">
                <a:solidFill>
                  <a:schemeClr val="tx2"/>
                </a:solidFill>
              </a:rPr>
              <a:t>, men at alle </a:t>
            </a:r>
            <a:r>
              <a:rPr lang="en-GB" sz="2400" dirty="0" err="1">
                <a:solidFill>
                  <a:schemeClr val="tx2"/>
                </a:solidFill>
              </a:rPr>
              <a:t>menneskerettighetene</a:t>
            </a:r>
            <a:r>
              <a:rPr lang="en-GB" sz="2400" dirty="0">
                <a:solidFill>
                  <a:schemeClr val="tx2"/>
                </a:solidFill>
              </a:rPr>
              <a:t> </a:t>
            </a:r>
            <a:r>
              <a:rPr lang="en-GB" sz="2400" dirty="0" err="1">
                <a:solidFill>
                  <a:schemeClr val="tx2"/>
                </a:solidFill>
              </a:rPr>
              <a:t>gjelder</a:t>
            </a:r>
            <a:r>
              <a:rPr lang="en-GB" sz="2400" dirty="0">
                <a:solidFill>
                  <a:schemeClr val="tx2"/>
                </a:solidFill>
              </a:rPr>
              <a:t> for </a:t>
            </a:r>
            <a:r>
              <a:rPr lang="en-GB" sz="2400" dirty="0" err="1">
                <a:solidFill>
                  <a:schemeClr val="tx2"/>
                </a:solidFill>
              </a:rPr>
              <a:t>funksjonshemmede</a:t>
            </a:r>
            <a:r>
              <a:rPr lang="en-GB" sz="2400" dirty="0">
                <a:solidFill>
                  <a:schemeClr val="tx2"/>
                </a:solidFill>
              </a:rPr>
              <a:t> </a:t>
            </a:r>
            <a:r>
              <a:rPr lang="en-GB" sz="2400" dirty="0" err="1">
                <a:solidFill>
                  <a:schemeClr val="tx2"/>
                </a:solidFill>
              </a:rPr>
              <a:t>på</a:t>
            </a:r>
            <a:r>
              <a:rPr lang="en-GB" sz="2400" dirty="0">
                <a:solidFill>
                  <a:schemeClr val="tx2"/>
                </a:solidFill>
              </a:rPr>
              <a:t> </a:t>
            </a:r>
            <a:r>
              <a:rPr lang="en-GB" sz="2400" dirty="0" err="1">
                <a:solidFill>
                  <a:schemeClr val="tx2"/>
                </a:solidFill>
              </a:rPr>
              <a:t>lik</a:t>
            </a:r>
            <a:r>
              <a:rPr lang="en-GB" sz="2400" dirty="0">
                <a:solidFill>
                  <a:schemeClr val="tx2"/>
                </a:solidFill>
              </a:rPr>
              <a:t> </a:t>
            </a:r>
            <a:r>
              <a:rPr lang="en-GB" sz="2400" dirty="0" err="1">
                <a:solidFill>
                  <a:schemeClr val="tx2"/>
                </a:solidFill>
              </a:rPr>
              <a:t>linje</a:t>
            </a:r>
            <a:r>
              <a:rPr lang="en-GB" sz="2400" dirty="0">
                <a:solidFill>
                  <a:schemeClr val="tx2"/>
                </a:solidFill>
              </a:rPr>
              <a:t> med </a:t>
            </a:r>
            <a:r>
              <a:rPr lang="en-GB" sz="2400" dirty="0" err="1">
                <a:solidFill>
                  <a:schemeClr val="tx2"/>
                </a:solidFill>
              </a:rPr>
              <a:t>andre</a:t>
            </a:r>
            <a:r>
              <a:rPr lang="en-GB" sz="2400" dirty="0">
                <a:solidFill>
                  <a:schemeClr val="tx2"/>
                </a:solidFill>
              </a:rPr>
              <a:t>.</a:t>
            </a:r>
          </a:p>
          <a:p>
            <a:r>
              <a:rPr lang="en-GB" sz="2400" dirty="0" err="1">
                <a:solidFill>
                  <a:schemeClr val="tx2"/>
                </a:solidFill>
              </a:rPr>
              <a:t>Bygger</a:t>
            </a:r>
            <a:r>
              <a:rPr lang="en-GB" sz="2400" dirty="0">
                <a:solidFill>
                  <a:schemeClr val="tx2"/>
                </a:solidFill>
              </a:rPr>
              <a:t> </a:t>
            </a:r>
            <a:r>
              <a:rPr lang="en-GB" sz="2400" dirty="0" err="1">
                <a:solidFill>
                  <a:schemeClr val="tx2"/>
                </a:solidFill>
              </a:rPr>
              <a:t>på</a:t>
            </a:r>
            <a:r>
              <a:rPr lang="en-GB" sz="2400" dirty="0">
                <a:solidFill>
                  <a:schemeClr val="tx2"/>
                </a:solidFill>
              </a:rPr>
              <a:t> </a:t>
            </a:r>
            <a:r>
              <a:rPr lang="en-GB" sz="2400" dirty="0" err="1">
                <a:solidFill>
                  <a:schemeClr val="tx2"/>
                </a:solidFill>
              </a:rPr>
              <a:t>en</a:t>
            </a:r>
            <a:r>
              <a:rPr lang="en-GB" sz="2400" dirty="0">
                <a:solidFill>
                  <a:schemeClr val="tx2"/>
                </a:solidFill>
              </a:rPr>
              <a:t> </a:t>
            </a:r>
            <a:r>
              <a:rPr lang="en-GB" sz="2400" dirty="0" err="1">
                <a:solidFill>
                  <a:schemeClr val="tx2"/>
                </a:solidFill>
              </a:rPr>
              <a:t>sosial</a:t>
            </a:r>
            <a:r>
              <a:rPr lang="en-GB" sz="2400" dirty="0">
                <a:solidFill>
                  <a:schemeClr val="tx2"/>
                </a:solidFill>
              </a:rPr>
              <a:t> </a:t>
            </a:r>
            <a:r>
              <a:rPr lang="en-GB" sz="2400" dirty="0" err="1">
                <a:solidFill>
                  <a:schemeClr val="tx2"/>
                </a:solidFill>
              </a:rPr>
              <a:t>og</a:t>
            </a:r>
            <a:r>
              <a:rPr lang="en-GB" sz="2400" dirty="0">
                <a:solidFill>
                  <a:schemeClr val="tx2"/>
                </a:solidFill>
              </a:rPr>
              <a:t> </a:t>
            </a:r>
            <a:r>
              <a:rPr lang="en-GB" sz="2400" dirty="0" err="1">
                <a:solidFill>
                  <a:schemeClr val="tx2"/>
                </a:solidFill>
              </a:rPr>
              <a:t>rettighetsbasert</a:t>
            </a:r>
            <a:r>
              <a:rPr lang="en-GB" sz="2400" dirty="0">
                <a:solidFill>
                  <a:schemeClr val="tx2"/>
                </a:solidFill>
              </a:rPr>
              <a:t> </a:t>
            </a:r>
            <a:r>
              <a:rPr lang="en-GB" sz="2400" dirty="0" err="1">
                <a:solidFill>
                  <a:schemeClr val="tx2"/>
                </a:solidFill>
              </a:rPr>
              <a:t>modell</a:t>
            </a:r>
            <a:r>
              <a:rPr lang="en-GB" sz="2400" dirty="0">
                <a:solidFill>
                  <a:schemeClr val="tx2"/>
                </a:solidFill>
              </a:rPr>
              <a:t> for </a:t>
            </a:r>
            <a:r>
              <a:rPr lang="en-GB" sz="2400" dirty="0" err="1">
                <a:solidFill>
                  <a:schemeClr val="tx2"/>
                </a:solidFill>
              </a:rPr>
              <a:t>funksjonshemming</a:t>
            </a:r>
            <a:r>
              <a:rPr lang="en-GB" sz="2400" dirty="0">
                <a:solidFill>
                  <a:schemeClr val="tx2"/>
                </a:solidFill>
              </a:rPr>
              <a:t>. (</a:t>
            </a:r>
            <a:r>
              <a:rPr lang="en-GB" sz="2400" dirty="0" err="1">
                <a:solidFill>
                  <a:schemeClr val="tx2"/>
                </a:solidFill>
              </a:rPr>
              <a:t>ikke</a:t>
            </a:r>
            <a:r>
              <a:rPr lang="en-GB" sz="2400" dirty="0">
                <a:solidFill>
                  <a:schemeClr val="tx2"/>
                </a:solidFill>
              </a:rPr>
              <a:t> </a:t>
            </a:r>
            <a:r>
              <a:rPr lang="en-GB" sz="2400" dirty="0" err="1">
                <a:solidFill>
                  <a:schemeClr val="tx2"/>
                </a:solidFill>
              </a:rPr>
              <a:t>en</a:t>
            </a:r>
            <a:r>
              <a:rPr lang="en-GB" sz="2400" dirty="0">
                <a:solidFill>
                  <a:schemeClr val="tx2"/>
                </a:solidFill>
              </a:rPr>
              <a:t> </a:t>
            </a:r>
            <a:r>
              <a:rPr lang="en-GB" sz="2400" dirty="0" err="1">
                <a:solidFill>
                  <a:schemeClr val="tx2"/>
                </a:solidFill>
              </a:rPr>
              <a:t>medisinsk</a:t>
            </a:r>
            <a:r>
              <a:rPr lang="en-GB" sz="2400" dirty="0">
                <a:solidFill>
                  <a:schemeClr val="tx2"/>
                </a:solidFill>
              </a:rPr>
              <a:t> </a:t>
            </a:r>
            <a:r>
              <a:rPr lang="en-GB" sz="2400" dirty="0" err="1">
                <a:solidFill>
                  <a:schemeClr val="tx2"/>
                </a:solidFill>
              </a:rPr>
              <a:t>modell</a:t>
            </a:r>
            <a:r>
              <a:rPr lang="en-GB" sz="2400" dirty="0">
                <a:solidFill>
                  <a:schemeClr val="tx2"/>
                </a:solidFill>
              </a:rPr>
              <a:t>) </a:t>
            </a:r>
          </a:p>
          <a:p>
            <a:pPr marL="0" indent="0">
              <a:buNone/>
            </a:pPr>
            <a:endParaRPr lang="nb-NO" sz="1900" dirty="0">
              <a:solidFill>
                <a:schemeClr val="tx2"/>
              </a:solidFill>
            </a:endParaRPr>
          </a:p>
          <a:p>
            <a:pPr marL="0" indent="0">
              <a:buNone/>
            </a:pPr>
            <a:r>
              <a:rPr lang="nb-NO" b="1" dirty="0">
                <a:solidFill>
                  <a:schemeClr val="tx2"/>
                </a:solidFill>
              </a:rPr>
              <a:t>Hva betyr CRPD for psykiske helsetjenester?</a:t>
            </a:r>
          </a:p>
          <a:p>
            <a:r>
              <a:rPr lang="nb-NO" sz="2400" dirty="0">
                <a:solidFill>
                  <a:schemeClr val="tx2"/>
                </a:solidFill>
              </a:rPr>
              <a:t>At vanlige og utbredte praksiser som </a:t>
            </a:r>
            <a:r>
              <a:rPr lang="nb-NO" sz="2400" dirty="0" err="1">
                <a:solidFill>
                  <a:schemeClr val="tx2"/>
                </a:solidFill>
              </a:rPr>
              <a:t>tvangsbehandling</a:t>
            </a:r>
            <a:r>
              <a:rPr lang="nb-NO" sz="2400" dirty="0">
                <a:solidFill>
                  <a:schemeClr val="tx2"/>
                </a:solidFill>
              </a:rPr>
              <a:t>, institusjonalisering og overformynderi ikke lenger er i tråd med internasjonal lov. </a:t>
            </a:r>
          </a:p>
          <a:p>
            <a:r>
              <a:rPr lang="nb-NO" sz="2400" dirty="0">
                <a:solidFill>
                  <a:schemeClr val="tx2"/>
                </a:solidFill>
              </a:rPr>
              <a:t>Skifte av modell må bety endring i maktforhold, fokus og kunnskapsutvikling. </a:t>
            </a:r>
          </a:p>
          <a:p>
            <a:pPr marL="0" indent="0">
              <a:buNone/>
            </a:pPr>
            <a:endParaRPr lang="nb-NO" sz="1800" dirty="0">
              <a:solidFill>
                <a:schemeClr val="tx2"/>
              </a:solidFill>
            </a:endParaRPr>
          </a:p>
        </p:txBody>
      </p:sp>
      <p:grpSp>
        <p:nvGrpSpPr>
          <p:cNvPr id="16" name="Group 15">
            <a:extLst>
              <a:ext uri="{FF2B5EF4-FFF2-40B4-BE49-F238E27FC236}">
                <a16:creationId xmlns:a16="http://schemas.microsoft.com/office/drawing/2014/main" id="{DD354807-230F-4402-B1B9-F733A8F1F19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5818240" y="-16714"/>
            <a:ext cx="6373761" cy="6874714"/>
            <a:chOff x="5818240" y="-1"/>
            <a:chExt cx="6373761" cy="6874714"/>
          </a:xfrm>
        </p:grpSpPr>
        <p:sp>
          <p:nvSpPr>
            <p:cNvPr id="17" name="Freeform: Shape 16">
              <a:extLst>
                <a:ext uri="{FF2B5EF4-FFF2-40B4-BE49-F238E27FC236}">
                  <a16:creationId xmlns:a16="http://schemas.microsoft.com/office/drawing/2014/main" id="{BF5A6F4A-CE87-4D5C-9382-8167967CE81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18240" y="-1"/>
              <a:ext cx="6373761" cy="6874714"/>
            </a:xfrm>
            <a:custGeom>
              <a:avLst/>
              <a:gdLst>
                <a:gd name="connsiteX0" fmla="*/ 6373761 w 6373761"/>
                <a:gd name="connsiteY0" fmla="*/ 5771297 h 6874714"/>
                <a:gd name="connsiteX1" fmla="*/ 6373761 w 6373761"/>
                <a:gd name="connsiteY1" fmla="*/ 6247960 h 6874714"/>
                <a:gd name="connsiteX2" fmla="*/ 6235932 w 6373761"/>
                <a:gd name="connsiteY2" fmla="*/ 6361930 h 6874714"/>
                <a:gd name="connsiteX3" fmla="*/ 5960375 w 6373761"/>
                <a:gd name="connsiteY3" fmla="*/ 6587489 h 6874714"/>
                <a:gd name="connsiteX4" fmla="*/ 5822907 w 6373761"/>
                <a:gd name="connsiteY4" fmla="*/ 6701871 h 6874714"/>
                <a:gd name="connsiteX5" fmla="*/ 5681115 w 6373761"/>
                <a:gd name="connsiteY5" fmla="*/ 6816896 h 6874714"/>
                <a:gd name="connsiteX6" fmla="*/ 5604096 w 6373761"/>
                <a:gd name="connsiteY6" fmla="*/ 6874714 h 6874714"/>
                <a:gd name="connsiteX7" fmla="*/ 4878485 w 6373761"/>
                <a:gd name="connsiteY7" fmla="*/ 6874714 h 6874714"/>
                <a:gd name="connsiteX8" fmla="*/ 5006014 w 6373761"/>
                <a:gd name="connsiteY8" fmla="*/ 6800200 h 6874714"/>
                <a:gd name="connsiteX9" fmla="*/ 5149855 w 6373761"/>
                <a:gd name="connsiteY9" fmla="*/ 6707667 h 6874714"/>
                <a:gd name="connsiteX10" fmla="*/ 5431866 w 6373761"/>
                <a:gd name="connsiteY10" fmla="*/ 6506210 h 6874714"/>
                <a:gd name="connsiteX11" fmla="*/ 5571036 w 6373761"/>
                <a:gd name="connsiteY11" fmla="*/ 6399557 h 6874714"/>
                <a:gd name="connsiteX12" fmla="*/ 5711649 w 6373761"/>
                <a:gd name="connsiteY12" fmla="*/ 6288912 h 6874714"/>
                <a:gd name="connsiteX13" fmla="*/ 6276589 w 6373761"/>
                <a:gd name="connsiteY13" fmla="*/ 5852379 h 6874714"/>
                <a:gd name="connsiteX14" fmla="*/ 3975975 w 6373761"/>
                <a:gd name="connsiteY14" fmla="*/ 263 h 6874714"/>
                <a:gd name="connsiteX15" fmla="*/ 4350473 w 6373761"/>
                <a:gd name="connsiteY15" fmla="*/ 24963 h 6874714"/>
                <a:gd name="connsiteX16" fmla="*/ 5077909 w 6373761"/>
                <a:gd name="connsiteY16" fmla="*/ 189450 h 6874714"/>
                <a:gd name="connsiteX17" fmla="*/ 5746507 w 6373761"/>
                <a:gd name="connsiteY17" fmla="*/ 505804 h 6874714"/>
                <a:gd name="connsiteX18" fmla="*/ 6322456 w 6373761"/>
                <a:gd name="connsiteY18" fmla="*/ 956633 h 6874714"/>
                <a:gd name="connsiteX19" fmla="*/ 6373761 w 6373761"/>
                <a:gd name="connsiteY19" fmla="*/ 1011863 h 6874714"/>
                <a:gd name="connsiteX20" fmla="*/ 6373761 w 6373761"/>
                <a:gd name="connsiteY20" fmla="*/ 1185075 h 6874714"/>
                <a:gd name="connsiteX21" fmla="*/ 6359489 w 6373761"/>
                <a:gd name="connsiteY21" fmla="*/ 1169497 h 6874714"/>
                <a:gd name="connsiteX22" fmla="*/ 6233869 w 6373761"/>
                <a:gd name="connsiteY22" fmla="*/ 1047442 h 6874714"/>
                <a:gd name="connsiteX23" fmla="*/ 5961423 w 6373761"/>
                <a:gd name="connsiteY23" fmla="*/ 827953 h 6874714"/>
                <a:gd name="connsiteX24" fmla="*/ 5663555 w 6373761"/>
                <a:gd name="connsiteY24" fmla="*/ 645304 h 6874714"/>
                <a:gd name="connsiteX25" fmla="*/ 5013827 w 6373761"/>
                <a:gd name="connsiteY25" fmla="*/ 397863 h 6874714"/>
                <a:gd name="connsiteX26" fmla="*/ 4327409 w 6373761"/>
                <a:gd name="connsiteY26" fmla="*/ 302545 h 6874714"/>
                <a:gd name="connsiteX27" fmla="*/ 3639939 w 6373761"/>
                <a:gd name="connsiteY27" fmla="*/ 338868 h 6874714"/>
                <a:gd name="connsiteX28" fmla="*/ 3302495 w 6373761"/>
                <a:gd name="connsiteY28" fmla="*/ 403659 h 6874714"/>
                <a:gd name="connsiteX29" fmla="*/ 2971604 w 6373761"/>
                <a:gd name="connsiteY29" fmla="*/ 496273 h 6874714"/>
                <a:gd name="connsiteX30" fmla="*/ 2648706 w 6373761"/>
                <a:gd name="connsiteY30" fmla="*/ 614389 h 6874714"/>
                <a:gd name="connsiteX31" fmla="*/ 2335374 w 6373761"/>
                <a:gd name="connsiteY31" fmla="*/ 757109 h 6874714"/>
                <a:gd name="connsiteX32" fmla="*/ 1741342 w 6373761"/>
                <a:gd name="connsiteY32" fmla="*/ 1107725 h 6874714"/>
                <a:gd name="connsiteX33" fmla="*/ 1600861 w 6373761"/>
                <a:gd name="connsiteY33" fmla="*/ 1208710 h 6874714"/>
                <a:gd name="connsiteX34" fmla="*/ 1531799 w 6373761"/>
                <a:gd name="connsiteY34" fmla="*/ 1260879 h 6874714"/>
                <a:gd name="connsiteX35" fmla="*/ 1463655 w 6373761"/>
                <a:gd name="connsiteY35" fmla="*/ 1314333 h 6874714"/>
                <a:gd name="connsiteX36" fmla="*/ 1200777 w 6373761"/>
                <a:gd name="connsiteY36" fmla="*/ 1541166 h 6874714"/>
                <a:gd name="connsiteX37" fmla="*/ 731501 w 6373761"/>
                <a:gd name="connsiteY37" fmla="*/ 2055754 h 6874714"/>
                <a:gd name="connsiteX38" fmla="*/ 531393 w 6373761"/>
                <a:gd name="connsiteY38" fmla="*/ 2342739 h 6874714"/>
                <a:gd name="connsiteX39" fmla="*/ 361033 w 6373761"/>
                <a:gd name="connsiteY39" fmla="*/ 2649046 h 6874714"/>
                <a:gd name="connsiteX40" fmla="*/ 323292 w 6373761"/>
                <a:gd name="connsiteY40" fmla="*/ 2728263 h 6874714"/>
                <a:gd name="connsiteX41" fmla="*/ 304945 w 6373761"/>
                <a:gd name="connsiteY41" fmla="*/ 2768193 h 6874714"/>
                <a:gd name="connsiteX42" fmla="*/ 287516 w 6373761"/>
                <a:gd name="connsiteY42" fmla="*/ 2808510 h 6874714"/>
                <a:gd name="connsiteX43" fmla="*/ 254230 w 6373761"/>
                <a:gd name="connsiteY43" fmla="*/ 2889788 h 6874714"/>
                <a:gd name="connsiteX44" fmla="*/ 223042 w 6373761"/>
                <a:gd name="connsiteY44" fmla="*/ 2971968 h 6874714"/>
                <a:gd name="connsiteX45" fmla="*/ 121611 w 6373761"/>
                <a:gd name="connsiteY45" fmla="*/ 3308544 h 6874714"/>
                <a:gd name="connsiteX46" fmla="*/ 39314 w 6373761"/>
                <a:gd name="connsiteY46" fmla="*/ 4005912 h 6874714"/>
                <a:gd name="connsiteX47" fmla="*/ 73910 w 6373761"/>
                <a:gd name="connsiteY47" fmla="*/ 4354081 h 6874714"/>
                <a:gd name="connsiteX48" fmla="*/ 179534 w 6373761"/>
                <a:gd name="connsiteY48" fmla="*/ 4687050 h 6874714"/>
                <a:gd name="connsiteX49" fmla="*/ 215964 w 6373761"/>
                <a:gd name="connsiteY49" fmla="*/ 4766654 h 6874714"/>
                <a:gd name="connsiteX50" fmla="*/ 256457 w 6373761"/>
                <a:gd name="connsiteY50" fmla="*/ 4844455 h 6874714"/>
                <a:gd name="connsiteX51" fmla="*/ 346225 w 6373761"/>
                <a:gd name="connsiteY51" fmla="*/ 4995290 h 6874714"/>
                <a:gd name="connsiteX52" fmla="*/ 445296 w 6373761"/>
                <a:gd name="connsiteY52" fmla="*/ 5140971 h 6874714"/>
                <a:gd name="connsiteX53" fmla="*/ 551443 w 6373761"/>
                <a:gd name="connsiteY53" fmla="*/ 5282531 h 6874714"/>
                <a:gd name="connsiteX54" fmla="*/ 772387 w 6373761"/>
                <a:gd name="connsiteY54" fmla="*/ 5562561 h 6874714"/>
                <a:gd name="connsiteX55" fmla="*/ 882858 w 6373761"/>
                <a:gd name="connsiteY55" fmla="*/ 5704507 h 6874714"/>
                <a:gd name="connsiteX56" fmla="*/ 990316 w 6373761"/>
                <a:gd name="connsiteY56" fmla="*/ 5848258 h 6874714"/>
                <a:gd name="connsiteX57" fmla="*/ 1097774 w 6373761"/>
                <a:gd name="connsiteY57" fmla="*/ 5987114 h 6874714"/>
                <a:gd name="connsiteX58" fmla="*/ 1210080 w 6373761"/>
                <a:gd name="connsiteY58" fmla="*/ 6121203 h 6874714"/>
                <a:gd name="connsiteX59" fmla="*/ 1448192 w 6373761"/>
                <a:gd name="connsiteY59" fmla="*/ 6374054 h 6874714"/>
                <a:gd name="connsiteX60" fmla="*/ 1982991 w 6373761"/>
                <a:gd name="connsiteY60" fmla="*/ 6796158 h 6874714"/>
                <a:gd name="connsiteX61" fmla="*/ 2118475 w 6373761"/>
                <a:gd name="connsiteY61" fmla="*/ 6874714 h 6874714"/>
                <a:gd name="connsiteX62" fmla="*/ 1569874 w 6373761"/>
                <a:gd name="connsiteY62" fmla="*/ 6874714 h 6874714"/>
                <a:gd name="connsiteX63" fmla="*/ 1507802 w 6373761"/>
                <a:gd name="connsiteY63" fmla="*/ 6817815 h 6874714"/>
                <a:gd name="connsiteX64" fmla="*/ 1256865 w 6373761"/>
                <a:gd name="connsiteY64" fmla="*/ 6543437 h 6874714"/>
                <a:gd name="connsiteX65" fmla="*/ 1038410 w 6373761"/>
                <a:gd name="connsiteY65" fmla="*/ 6248722 h 6874714"/>
                <a:gd name="connsiteX66" fmla="*/ 845380 w 6373761"/>
                <a:gd name="connsiteY66" fmla="*/ 5941386 h 6874714"/>
                <a:gd name="connsiteX67" fmla="*/ 755351 w 6373761"/>
                <a:gd name="connsiteY67" fmla="*/ 5788877 h 6874714"/>
                <a:gd name="connsiteX68" fmla="*/ 661784 w 6373761"/>
                <a:gd name="connsiteY68" fmla="*/ 5638944 h 6874714"/>
                <a:gd name="connsiteX69" fmla="*/ 466525 w 6373761"/>
                <a:gd name="connsiteY69" fmla="*/ 5340366 h 6874714"/>
                <a:gd name="connsiteX70" fmla="*/ 370992 w 6373761"/>
                <a:gd name="connsiteY70" fmla="*/ 5188502 h 6874714"/>
                <a:gd name="connsiteX71" fmla="*/ 280046 w 6373761"/>
                <a:gd name="connsiteY71" fmla="*/ 5033287 h 6874714"/>
                <a:gd name="connsiteX72" fmla="*/ 126853 w 6373761"/>
                <a:gd name="connsiteY72" fmla="*/ 4707660 h 6874714"/>
                <a:gd name="connsiteX73" fmla="*/ 30272 w 6373761"/>
                <a:gd name="connsiteY73" fmla="*/ 4362068 h 6874714"/>
                <a:gd name="connsiteX74" fmla="*/ 0 w 6373761"/>
                <a:gd name="connsiteY74" fmla="*/ 4005912 h 6874714"/>
                <a:gd name="connsiteX75" fmla="*/ 270480 w 6373761"/>
                <a:gd name="connsiteY75" fmla="*/ 2610532 h 6874714"/>
                <a:gd name="connsiteX76" fmla="*/ 415942 w 6373761"/>
                <a:gd name="connsiteY76" fmla="*/ 2280526 h 6874714"/>
                <a:gd name="connsiteX77" fmla="*/ 590102 w 6373761"/>
                <a:gd name="connsiteY77" fmla="*/ 1962626 h 6874714"/>
                <a:gd name="connsiteX78" fmla="*/ 1020719 w 6373761"/>
                <a:gd name="connsiteY78" fmla="*/ 1373070 h 6874714"/>
                <a:gd name="connsiteX79" fmla="*/ 1275080 w 6373761"/>
                <a:gd name="connsiteY79" fmla="*/ 1107081 h 6874714"/>
                <a:gd name="connsiteX80" fmla="*/ 1342437 w 6373761"/>
                <a:gd name="connsiteY80" fmla="*/ 1043965 h 6874714"/>
                <a:gd name="connsiteX81" fmla="*/ 1411106 w 6373761"/>
                <a:gd name="connsiteY81" fmla="*/ 982138 h 6874714"/>
                <a:gd name="connsiteX82" fmla="*/ 1553029 w 6373761"/>
                <a:gd name="connsiteY82" fmla="*/ 863376 h 6874714"/>
                <a:gd name="connsiteX83" fmla="*/ 2173401 w 6373761"/>
                <a:gd name="connsiteY83" fmla="*/ 454409 h 6874714"/>
                <a:gd name="connsiteX84" fmla="*/ 3599708 w 6373761"/>
                <a:gd name="connsiteY84" fmla="*/ 16332 h 6874714"/>
                <a:gd name="connsiteX85" fmla="*/ 3975975 w 6373761"/>
                <a:gd name="connsiteY85" fmla="*/ 263 h 6874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6373761" h="6874714">
                  <a:moveTo>
                    <a:pt x="6373761" y="5771297"/>
                  </a:moveTo>
                  <a:lnTo>
                    <a:pt x="6373761" y="6247960"/>
                  </a:lnTo>
                  <a:lnTo>
                    <a:pt x="6235932" y="6361930"/>
                  </a:lnTo>
                  <a:cubicBezTo>
                    <a:pt x="6143250" y="6437460"/>
                    <a:pt x="6051059" y="6512200"/>
                    <a:pt x="5960375" y="6587489"/>
                  </a:cubicBezTo>
                  <a:lnTo>
                    <a:pt x="5822907" y="6701871"/>
                  </a:lnTo>
                  <a:cubicBezTo>
                    <a:pt x="5776123" y="6740385"/>
                    <a:pt x="5729079" y="6778899"/>
                    <a:pt x="5681115" y="6816896"/>
                  </a:cubicBezTo>
                  <a:lnTo>
                    <a:pt x="5604096" y="6874714"/>
                  </a:lnTo>
                  <a:lnTo>
                    <a:pt x="4878485" y="6874714"/>
                  </a:lnTo>
                  <a:lnTo>
                    <a:pt x="5006014" y="6800200"/>
                  </a:lnTo>
                  <a:cubicBezTo>
                    <a:pt x="5054354" y="6770429"/>
                    <a:pt x="5102285" y="6739483"/>
                    <a:pt x="5149855" y="6707667"/>
                  </a:cubicBezTo>
                  <a:cubicBezTo>
                    <a:pt x="5244993" y="6643906"/>
                    <a:pt x="5338561" y="6576025"/>
                    <a:pt x="5431866" y="6506210"/>
                  </a:cubicBezTo>
                  <a:cubicBezTo>
                    <a:pt x="5478386" y="6471304"/>
                    <a:pt x="5524777" y="6435495"/>
                    <a:pt x="5571036" y="6399557"/>
                  </a:cubicBezTo>
                  <a:lnTo>
                    <a:pt x="5711649" y="6288912"/>
                  </a:lnTo>
                  <a:cubicBezTo>
                    <a:pt x="5902059" y="6140395"/>
                    <a:pt x="6093257" y="5998320"/>
                    <a:pt x="6276589" y="5852379"/>
                  </a:cubicBezTo>
                  <a:close/>
                  <a:moveTo>
                    <a:pt x="3975975" y="263"/>
                  </a:moveTo>
                  <a:cubicBezTo>
                    <a:pt x="4101550" y="1809"/>
                    <a:pt x="4226830" y="10149"/>
                    <a:pt x="4350473" y="24963"/>
                  </a:cubicBezTo>
                  <a:cubicBezTo>
                    <a:pt x="4598149" y="54846"/>
                    <a:pt x="4842943" y="108687"/>
                    <a:pt x="5077909" y="189450"/>
                  </a:cubicBezTo>
                  <a:cubicBezTo>
                    <a:pt x="5312876" y="269955"/>
                    <a:pt x="5537357" y="376867"/>
                    <a:pt x="5746507" y="505804"/>
                  </a:cubicBezTo>
                  <a:cubicBezTo>
                    <a:pt x="5955527" y="634999"/>
                    <a:pt x="6148688" y="786864"/>
                    <a:pt x="6322456" y="956633"/>
                  </a:cubicBezTo>
                  <a:lnTo>
                    <a:pt x="6373761" y="1011863"/>
                  </a:lnTo>
                  <a:lnTo>
                    <a:pt x="6373761" y="1185075"/>
                  </a:lnTo>
                  <a:lnTo>
                    <a:pt x="6359489" y="1169497"/>
                  </a:lnTo>
                  <a:cubicBezTo>
                    <a:pt x="6318811" y="1127602"/>
                    <a:pt x="6276917" y="1086890"/>
                    <a:pt x="6233869" y="1047442"/>
                  </a:cubicBezTo>
                  <a:cubicBezTo>
                    <a:pt x="6147509" y="968870"/>
                    <a:pt x="6056431" y="895448"/>
                    <a:pt x="5961423" y="827953"/>
                  </a:cubicBezTo>
                  <a:cubicBezTo>
                    <a:pt x="5865891" y="761102"/>
                    <a:pt x="5766688" y="699403"/>
                    <a:pt x="5663555" y="645304"/>
                  </a:cubicBezTo>
                  <a:cubicBezTo>
                    <a:pt x="5457943" y="535816"/>
                    <a:pt x="5238703" y="453894"/>
                    <a:pt x="5013827" y="397863"/>
                  </a:cubicBezTo>
                  <a:cubicBezTo>
                    <a:pt x="4788953" y="341703"/>
                    <a:pt x="4558442" y="310917"/>
                    <a:pt x="4327409" y="302545"/>
                  </a:cubicBezTo>
                  <a:cubicBezTo>
                    <a:pt x="4096111" y="293012"/>
                    <a:pt x="3867174" y="305893"/>
                    <a:pt x="3639939" y="338868"/>
                  </a:cubicBezTo>
                  <a:cubicBezTo>
                    <a:pt x="3526585" y="355999"/>
                    <a:pt x="3413885" y="377254"/>
                    <a:pt x="3302495" y="403659"/>
                  </a:cubicBezTo>
                  <a:cubicBezTo>
                    <a:pt x="3191107" y="430451"/>
                    <a:pt x="3080634" y="460978"/>
                    <a:pt x="2971604" y="496273"/>
                  </a:cubicBezTo>
                  <a:cubicBezTo>
                    <a:pt x="2862573" y="531437"/>
                    <a:pt x="2754854" y="570852"/>
                    <a:pt x="2648706" y="614389"/>
                  </a:cubicBezTo>
                  <a:cubicBezTo>
                    <a:pt x="2542690" y="658056"/>
                    <a:pt x="2438114" y="705714"/>
                    <a:pt x="2335374" y="757109"/>
                  </a:cubicBezTo>
                  <a:cubicBezTo>
                    <a:pt x="2129894" y="859769"/>
                    <a:pt x="1931228" y="976855"/>
                    <a:pt x="1741342" y="1107725"/>
                  </a:cubicBezTo>
                  <a:cubicBezTo>
                    <a:pt x="1694035" y="1140571"/>
                    <a:pt x="1646858" y="1173933"/>
                    <a:pt x="1600861" y="1208710"/>
                  </a:cubicBezTo>
                  <a:cubicBezTo>
                    <a:pt x="1577535" y="1225713"/>
                    <a:pt x="1554732" y="1243361"/>
                    <a:pt x="1531799" y="1260879"/>
                  </a:cubicBezTo>
                  <a:cubicBezTo>
                    <a:pt x="1508735" y="1278267"/>
                    <a:pt x="1486064" y="1296171"/>
                    <a:pt x="1463655" y="1314333"/>
                  </a:cubicBezTo>
                  <a:cubicBezTo>
                    <a:pt x="1373627" y="1386853"/>
                    <a:pt x="1285564" y="1462077"/>
                    <a:pt x="1200777" y="1541166"/>
                  </a:cubicBezTo>
                  <a:cubicBezTo>
                    <a:pt x="1030810" y="1698827"/>
                    <a:pt x="873161" y="1870785"/>
                    <a:pt x="731501" y="2055754"/>
                  </a:cubicBezTo>
                  <a:cubicBezTo>
                    <a:pt x="660734" y="2148239"/>
                    <a:pt x="593771" y="2243944"/>
                    <a:pt x="531393" y="2342739"/>
                  </a:cubicBezTo>
                  <a:cubicBezTo>
                    <a:pt x="470063" y="2442050"/>
                    <a:pt x="412140" y="2543810"/>
                    <a:pt x="361033" y="2649046"/>
                  </a:cubicBezTo>
                  <a:cubicBezTo>
                    <a:pt x="347798" y="2675194"/>
                    <a:pt x="335479" y="2701728"/>
                    <a:pt x="323292" y="2728263"/>
                  </a:cubicBezTo>
                  <a:lnTo>
                    <a:pt x="304945" y="2768193"/>
                  </a:lnTo>
                  <a:lnTo>
                    <a:pt x="287516" y="2808510"/>
                  </a:lnTo>
                  <a:cubicBezTo>
                    <a:pt x="276115" y="2835432"/>
                    <a:pt x="264583" y="2862352"/>
                    <a:pt x="254230" y="2889788"/>
                  </a:cubicBezTo>
                  <a:cubicBezTo>
                    <a:pt x="243877" y="2917224"/>
                    <a:pt x="232477" y="2944274"/>
                    <a:pt x="223042" y="2971968"/>
                  </a:cubicBezTo>
                  <a:cubicBezTo>
                    <a:pt x="182679" y="3081970"/>
                    <a:pt x="148475" y="3194291"/>
                    <a:pt x="121611" y="3308544"/>
                  </a:cubicBezTo>
                  <a:cubicBezTo>
                    <a:pt x="67096" y="3536534"/>
                    <a:pt x="39183" y="3771224"/>
                    <a:pt x="39314" y="4005912"/>
                  </a:cubicBezTo>
                  <a:cubicBezTo>
                    <a:pt x="39969" y="4122871"/>
                    <a:pt x="51109" y="4239571"/>
                    <a:pt x="73910" y="4354081"/>
                  </a:cubicBezTo>
                  <a:cubicBezTo>
                    <a:pt x="97892" y="4468334"/>
                    <a:pt x="132619" y="4580140"/>
                    <a:pt x="179534" y="4687050"/>
                  </a:cubicBezTo>
                  <a:cubicBezTo>
                    <a:pt x="190673" y="4713972"/>
                    <a:pt x="203647" y="4740249"/>
                    <a:pt x="215964" y="4766654"/>
                  </a:cubicBezTo>
                  <a:cubicBezTo>
                    <a:pt x="229332" y="4792674"/>
                    <a:pt x="242043" y="4818950"/>
                    <a:pt x="256457" y="4844455"/>
                  </a:cubicBezTo>
                  <a:cubicBezTo>
                    <a:pt x="283978" y="4895978"/>
                    <a:pt x="314642" y="4945956"/>
                    <a:pt x="346225" y="4995290"/>
                  </a:cubicBezTo>
                  <a:cubicBezTo>
                    <a:pt x="377676" y="5044752"/>
                    <a:pt x="411355" y="5092926"/>
                    <a:pt x="445296" y="5140971"/>
                  </a:cubicBezTo>
                  <a:cubicBezTo>
                    <a:pt x="479760" y="5188630"/>
                    <a:pt x="515537" y="5235645"/>
                    <a:pt x="551443" y="5282531"/>
                  </a:cubicBezTo>
                  <a:cubicBezTo>
                    <a:pt x="623387" y="5376434"/>
                    <a:pt x="698608" y="5468402"/>
                    <a:pt x="772387" y="5562561"/>
                  </a:cubicBezTo>
                  <a:cubicBezTo>
                    <a:pt x="809472" y="5609448"/>
                    <a:pt x="846428" y="5656719"/>
                    <a:pt x="882858" y="5704507"/>
                  </a:cubicBezTo>
                  <a:cubicBezTo>
                    <a:pt x="919159" y="5751909"/>
                    <a:pt x="955196" y="5802273"/>
                    <a:pt x="990316" y="5848258"/>
                  </a:cubicBezTo>
                  <a:cubicBezTo>
                    <a:pt x="1025175" y="5895402"/>
                    <a:pt x="1061736" y="5941129"/>
                    <a:pt x="1097774" y="5987114"/>
                  </a:cubicBezTo>
                  <a:cubicBezTo>
                    <a:pt x="1134860" y="6032326"/>
                    <a:pt x="1171684" y="6077536"/>
                    <a:pt x="1210080" y="6121203"/>
                  </a:cubicBezTo>
                  <a:cubicBezTo>
                    <a:pt x="1286350" y="6209051"/>
                    <a:pt x="1365632" y="6293677"/>
                    <a:pt x="1448192" y="6374054"/>
                  </a:cubicBezTo>
                  <a:cubicBezTo>
                    <a:pt x="1613572" y="6534420"/>
                    <a:pt x="1792057" y="6677526"/>
                    <a:pt x="1982991" y="6796158"/>
                  </a:cubicBezTo>
                  <a:lnTo>
                    <a:pt x="2118475" y="6874714"/>
                  </a:lnTo>
                  <a:lnTo>
                    <a:pt x="1569874" y="6874714"/>
                  </a:lnTo>
                  <a:lnTo>
                    <a:pt x="1507802" y="6817815"/>
                  </a:lnTo>
                  <a:cubicBezTo>
                    <a:pt x="1418412" y="6730595"/>
                    <a:pt x="1334903" y="6638562"/>
                    <a:pt x="1256865" y="6543437"/>
                  </a:cubicBezTo>
                  <a:cubicBezTo>
                    <a:pt x="1179155" y="6447861"/>
                    <a:pt x="1106817" y="6349194"/>
                    <a:pt x="1038410" y="6248722"/>
                  </a:cubicBezTo>
                  <a:cubicBezTo>
                    <a:pt x="969873" y="6148253"/>
                    <a:pt x="905922" y="6045592"/>
                    <a:pt x="845380" y="5941386"/>
                  </a:cubicBezTo>
                  <a:cubicBezTo>
                    <a:pt x="814453" y="5888704"/>
                    <a:pt x="786147" y="5839370"/>
                    <a:pt x="755351" y="5788877"/>
                  </a:cubicBezTo>
                  <a:cubicBezTo>
                    <a:pt x="724817" y="5738771"/>
                    <a:pt x="693760" y="5688665"/>
                    <a:pt x="661784" y="5638944"/>
                  </a:cubicBezTo>
                  <a:lnTo>
                    <a:pt x="466525" y="5340366"/>
                  </a:lnTo>
                  <a:cubicBezTo>
                    <a:pt x="434156" y="5290131"/>
                    <a:pt x="402181" y="5239639"/>
                    <a:pt x="370992" y="5188502"/>
                  </a:cubicBezTo>
                  <a:cubicBezTo>
                    <a:pt x="339803" y="5137364"/>
                    <a:pt x="308876" y="5086099"/>
                    <a:pt x="280046" y="5033287"/>
                  </a:cubicBezTo>
                  <a:cubicBezTo>
                    <a:pt x="222255" y="4928179"/>
                    <a:pt x="169181" y="4819982"/>
                    <a:pt x="126853" y="4707660"/>
                  </a:cubicBezTo>
                  <a:cubicBezTo>
                    <a:pt x="83739" y="4595725"/>
                    <a:pt x="51764" y="4479670"/>
                    <a:pt x="30272" y="4362068"/>
                  </a:cubicBezTo>
                  <a:cubicBezTo>
                    <a:pt x="9698" y="4244466"/>
                    <a:pt x="0" y="4125060"/>
                    <a:pt x="0" y="4005912"/>
                  </a:cubicBezTo>
                  <a:cubicBezTo>
                    <a:pt x="1704" y="3530867"/>
                    <a:pt x="95140" y="3057110"/>
                    <a:pt x="270480" y="2610532"/>
                  </a:cubicBezTo>
                  <a:cubicBezTo>
                    <a:pt x="314511" y="2498984"/>
                    <a:pt x="362212" y="2388466"/>
                    <a:pt x="415942" y="2280526"/>
                  </a:cubicBezTo>
                  <a:cubicBezTo>
                    <a:pt x="468884" y="2172197"/>
                    <a:pt x="527199" y="2066188"/>
                    <a:pt x="590102" y="1962626"/>
                  </a:cubicBezTo>
                  <a:cubicBezTo>
                    <a:pt x="716037" y="1755631"/>
                    <a:pt x="859794" y="1557653"/>
                    <a:pt x="1020719" y="1373070"/>
                  </a:cubicBezTo>
                  <a:cubicBezTo>
                    <a:pt x="1101575" y="1281101"/>
                    <a:pt x="1185969" y="1191838"/>
                    <a:pt x="1275080" y="1107081"/>
                  </a:cubicBezTo>
                  <a:cubicBezTo>
                    <a:pt x="1297227" y="1085699"/>
                    <a:pt x="1319504" y="1064575"/>
                    <a:pt x="1342437" y="1043965"/>
                  </a:cubicBezTo>
                  <a:cubicBezTo>
                    <a:pt x="1365240" y="1023226"/>
                    <a:pt x="1387648" y="1002102"/>
                    <a:pt x="1411106" y="982138"/>
                  </a:cubicBezTo>
                  <a:cubicBezTo>
                    <a:pt x="1457497" y="941563"/>
                    <a:pt x="1505065" y="902276"/>
                    <a:pt x="1553029" y="863376"/>
                  </a:cubicBezTo>
                  <a:cubicBezTo>
                    <a:pt x="1745798" y="708806"/>
                    <a:pt x="1954030" y="571882"/>
                    <a:pt x="2173401" y="454409"/>
                  </a:cubicBezTo>
                  <a:cubicBezTo>
                    <a:pt x="2612013" y="219334"/>
                    <a:pt x="3099505" y="65666"/>
                    <a:pt x="3599708" y="16332"/>
                  </a:cubicBezTo>
                  <a:cubicBezTo>
                    <a:pt x="3724530" y="3966"/>
                    <a:pt x="3850400" y="-1283"/>
                    <a:pt x="3975975" y="263"/>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61023DD2-2E6F-4419-B404-80F08460BE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65276" y="313387"/>
              <a:ext cx="6326724" cy="6561326"/>
            </a:xfrm>
            <a:custGeom>
              <a:avLst/>
              <a:gdLst>
                <a:gd name="connsiteX0" fmla="*/ 6326724 w 6326724"/>
                <a:gd name="connsiteY0" fmla="*/ 5020808 h 6561326"/>
                <a:gd name="connsiteX1" fmla="*/ 6326724 w 6326724"/>
                <a:gd name="connsiteY1" fmla="*/ 5698632 h 6561326"/>
                <a:gd name="connsiteX2" fmla="*/ 6067438 w 6326724"/>
                <a:gd name="connsiteY2" fmla="*/ 5902509 h 6561326"/>
                <a:gd name="connsiteX3" fmla="*/ 5799974 w 6326724"/>
                <a:gd name="connsiteY3" fmla="*/ 6102017 h 6561326"/>
                <a:gd name="connsiteX4" fmla="*/ 5665258 w 6326724"/>
                <a:gd name="connsiteY4" fmla="*/ 6202100 h 6561326"/>
                <a:gd name="connsiteX5" fmla="*/ 5526873 w 6326724"/>
                <a:gd name="connsiteY5" fmla="*/ 6302828 h 6561326"/>
                <a:gd name="connsiteX6" fmla="*/ 5385080 w 6326724"/>
                <a:gd name="connsiteY6" fmla="*/ 6402268 h 6561326"/>
                <a:gd name="connsiteX7" fmla="*/ 5238833 w 6326724"/>
                <a:gd name="connsiteY7" fmla="*/ 6498875 h 6561326"/>
                <a:gd name="connsiteX8" fmla="*/ 5138040 w 6326724"/>
                <a:gd name="connsiteY8" fmla="*/ 6561326 h 6561326"/>
                <a:gd name="connsiteX9" fmla="*/ 3946072 w 6326724"/>
                <a:gd name="connsiteY9" fmla="*/ 6561326 h 6561326"/>
                <a:gd name="connsiteX10" fmla="*/ 3976009 w 6326724"/>
                <a:gd name="connsiteY10" fmla="*/ 6555242 h 6561326"/>
                <a:gd name="connsiteX11" fmla="*/ 4404855 w 6326724"/>
                <a:gd name="connsiteY11" fmla="*/ 6399048 h 6561326"/>
                <a:gd name="connsiteX12" fmla="*/ 4938868 w 6326724"/>
                <a:gd name="connsiteY12" fmla="*/ 6072132 h 6561326"/>
                <a:gd name="connsiteX13" fmla="*/ 5068342 w 6326724"/>
                <a:gd name="connsiteY13" fmla="*/ 5976042 h 6561326"/>
                <a:gd name="connsiteX14" fmla="*/ 5197816 w 6326724"/>
                <a:gd name="connsiteY14" fmla="*/ 5876730 h 6561326"/>
                <a:gd name="connsiteX15" fmla="*/ 5460039 w 6326724"/>
                <a:gd name="connsiteY15" fmla="*/ 5670637 h 6561326"/>
                <a:gd name="connsiteX16" fmla="*/ 5999033 w 6326724"/>
                <a:gd name="connsiteY16" fmla="*/ 5271718 h 6561326"/>
                <a:gd name="connsiteX17" fmla="*/ 6258766 w 6326724"/>
                <a:gd name="connsiteY17" fmla="*/ 5077603 h 6561326"/>
                <a:gd name="connsiteX18" fmla="*/ 4139342 w 6326724"/>
                <a:gd name="connsiteY18" fmla="*/ 440 h 6561326"/>
                <a:gd name="connsiteX19" fmla="*/ 4315744 w 6326724"/>
                <a:gd name="connsiteY19" fmla="*/ 6808 h 6561326"/>
                <a:gd name="connsiteX20" fmla="*/ 5015400 w 6326724"/>
                <a:gd name="connsiteY20" fmla="*/ 113591 h 6561326"/>
                <a:gd name="connsiteX21" fmla="*/ 5681114 w 6326724"/>
                <a:gd name="connsiteY21" fmla="*/ 361418 h 6561326"/>
                <a:gd name="connsiteX22" fmla="*/ 6270952 w 6326724"/>
                <a:gd name="connsiteY22" fmla="*/ 755441 h 6561326"/>
                <a:gd name="connsiteX23" fmla="*/ 6326724 w 6326724"/>
                <a:gd name="connsiteY23" fmla="*/ 807432 h 6561326"/>
                <a:gd name="connsiteX24" fmla="*/ 6326724 w 6326724"/>
                <a:gd name="connsiteY24" fmla="*/ 1231565 h 6561326"/>
                <a:gd name="connsiteX25" fmla="*/ 6302093 w 6326724"/>
                <a:gd name="connsiteY25" fmla="*/ 1203002 h 6561326"/>
                <a:gd name="connsiteX26" fmla="*/ 6066914 w 6326724"/>
                <a:gd name="connsiteY26" fmla="*/ 989616 h 6561326"/>
                <a:gd name="connsiteX27" fmla="*/ 5533688 w 6326724"/>
                <a:gd name="connsiteY27" fmla="*/ 647242 h 6561326"/>
                <a:gd name="connsiteX28" fmla="*/ 4933626 w 6326724"/>
                <a:gd name="connsiteY28" fmla="*/ 432262 h 6561326"/>
                <a:gd name="connsiteX29" fmla="*/ 4296873 w 6326724"/>
                <a:gd name="connsiteY29" fmla="*/ 343126 h 6561326"/>
                <a:gd name="connsiteX30" fmla="*/ 3651602 w 6326724"/>
                <a:gd name="connsiteY30" fmla="*/ 365797 h 6561326"/>
                <a:gd name="connsiteX31" fmla="*/ 3018256 w 6326724"/>
                <a:gd name="connsiteY31" fmla="*/ 496666 h 6561326"/>
                <a:gd name="connsiteX32" fmla="*/ 2412429 w 6326724"/>
                <a:gd name="connsiteY32" fmla="*/ 724399 h 6561326"/>
                <a:gd name="connsiteX33" fmla="*/ 1329857 w 6326724"/>
                <a:gd name="connsiteY33" fmla="*/ 1424086 h 6561326"/>
                <a:gd name="connsiteX34" fmla="*/ 887314 w 6326724"/>
                <a:gd name="connsiteY34" fmla="*/ 1891015 h 6561326"/>
                <a:gd name="connsiteX35" fmla="*/ 537420 w 6326724"/>
                <a:gd name="connsiteY35" fmla="*/ 2427245 h 6561326"/>
                <a:gd name="connsiteX36" fmla="*/ 299965 w 6326724"/>
                <a:gd name="connsiteY36" fmla="*/ 3020021 h 6561326"/>
                <a:gd name="connsiteX37" fmla="*/ 213606 w 6326724"/>
                <a:gd name="connsiteY37" fmla="*/ 3651953 h 6561326"/>
                <a:gd name="connsiteX38" fmla="*/ 250036 w 6326724"/>
                <a:gd name="connsiteY38" fmla="*/ 3961352 h 6561326"/>
                <a:gd name="connsiteX39" fmla="*/ 357625 w 6326724"/>
                <a:gd name="connsiteY39" fmla="*/ 4250783 h 6561326"/>
                <a:gd name="connsiteX40" fmla="*/ 432715 w 6326724"/>
                <a:gd name="connsiteY40" fmla="*/ 4387063 h 6561326"/>
                <a:gd name="connsiteX41" fmla="*/ 518943 w 6326724"/>
                <a:gd name="connsiteY41" fmla="*/ 4518962 h 6561326"/>
                <a:gd name="connsiteX42" fmla="*/ 718133 w 6326724"/>
                <a:gd name="connsiteY42" fmla="*/ 4773874 h 6561326"/>
                <a:gd name="connsiteX43" fmla="*/ 933704 w 6326724"/>
                <a:gd name="connsiteY43" fmla="*/ 5030717 h 6561326"/>
                <a:gd name="connsiteX44" fmla="*/ 1040900 w 6326724"/>
                <a:gd name="connsiteY44" fmla="*/ 5164806 h 6561326"/>
                <a:gd name="connsiteX45" fmla="*/ 1092401 w 6326724"/>
                <a:gd name="connsiteY45" fmla="*/ 5230628 h 6561326"/>
                <a:gd name="connsiteX46" fmla="*/ 1142854 w 6326724"/>
                <a:gd name="connsiteY46" fmla="*/ 5293615 h 6561326"/>
                <a:gd name="connsiteX47" fmla="*/ 1576354 w 6326724"/>
                <a:gd name="connsiteY47" fmla="*/ 5759128 h 6561326"/>
                <a:gd name="connsiteX48" fmla="*/ 1806865 w 6326724"/>
                <a:gd name="connsiteY48" fmla="*/ 5968571 h 6561326"/>
                <a:gd name="connsiteX49" fmla="*/ 2048253 w 6326724"/>
                <a:gd name="connsiteY49" fmla="*/ 6161654 h 6561326"/>
                <a:gd name="connsiteX50" fmla="*/ 2587506 w 6326724"/>
                <a:gd name="connsiteY50" fmla="*/ 6467059 h 6561326"/>
                <a:gd name="connsiteX51" fmla="*/ 2889176 w 6326724"/>
                <a:gd name="connsiteY51" fmla="*/ 6553360 h 6561326"/>
                <a:gd name="connsiteX52" fmla="*/ 2929698 w 6326724"/>
                <a:gd name="connsiteY52" fmla="*/ 6561326 h 6561326"/>
                <a:gd name="connsiteX53" fmla="*/ 1816374 w 6326724"/>
                <a:gd name="connsiteY53" fmla="*/ 6561326 h 6561326"/>
                <a:gd name="connsiteX54" fmla="*/ 1787601 w 6326724"/>
                <a:gd name="connsiteY54" fmla="*/ 6545761 h 6561326"/>
                <a:gd name="connsiteX55" fmla="*/ 1225544 w 6326724"/>
                <a:gd name="connsiteY55" fmla="*/ 6094158 h 6561326"/>
                <a:gd name="connsiteX56" fmla="*/ 997654 w 6326724"/>
                <a:gd name="connsiteY56" fmla="*/ 5822374 h 6561326"/>
                <a:gd name="connsiteX57" fmla="*/ 798596 w 6326724"/>
                <a:gd name="connsiteY57" fmla="*/ 5534615 h 6561326"/>
                <a:gd name="connsiteX58" fmla="*/ 752075 w 6326724"/>
                <a:gd name="connsiteY58" fmla="*/ 5461324 h 6561326"/>
                <a:gd name="connsiteX59" fmla="*/ 707650 w 6326724"/>
                <a:gd name="connsiteY59" fmla="*/ 5390221 h 6561326"/>
                <a:gd name="connsiteX60" fmla="*/ 619980 w 6326724"/>
                <a:gd name="connsiteY60" fmla="*/ 5252396 h 6561326"/>
                <a:gd name="connsiteX61" fmla="*/ 438349 w 6326724"/>
                <a:gd name="connsiteY61" fmla="*/ 4970822 h 6561326"/>
                <a:gd name="connsiteX62" fmla="*/ 261044 w 6326724"/>
                <a:gd name="connsiteY62" fmla="*/ 4673145 h 6561326"/>
                <a:gd name="connsiteX63" fmla="*/ 181107 w 6326724"/>
                <a:gd name="connsiteY63" fmla="*/ 4515356 h 6561326"/>
                <a:gd name="connsiteX64" fmla="*/ 113224 w 6326724"/>
                <a:gd name="connsiteY64" fmla="*/ 4350223 h 6561326"/>
                <a:gd name="connsiteX65" fmla="*/ 61199 w 6326724"/>
                <a:gd name="connsiteY65" fmla="*/ 4178908 h 6561326"/>
                <a:gd name="connsiteX66" fmla="*/ 41804 w 6326724"/>
                <a:gd name="connsiteY66" fmla="*/ 4091577 h 6561326"/>
                <a:gd name="connsiteX67" fmla="*/ 33287 w 6326724"/>
                <a:gd name="connsiteY67" fmla="*/ 4047781 h 6561326"/>
                <a:gd name="connsiteX68" fmla="*/ 26209 w 6326724"/>
                <a:gd name="connsiteY68" fmla="*/ 4003858 h 6561326"/>
                <a:gd name="connsiteX69" fmla="*/ 0 w 6326724"/>
                <a:gd name="connsiteY69" fmla="*/ 3651953 h 6561326"/>
                <a:gd name="connsiteX70" fmla="*/ 72731 w 6326724"/>
                <a:gd name="connsiteY70" fmla="*/ 2966307 h 6561326"/>
                <a:gd name="connsiteX71" fmla="*/ 291316 w 6326724"/>
                <a:gd name="connsiteY71" fmla="*/ 2309385 h 6561326"/>
                <a:gd name="connsiteX72" fmla="*/ 1110878 w 6326724"/>
                <a:gd name="connsiteY72" fmla="*/ 1193776 h 6561326"/>
                <a:gd name="connsiteX73" fmla="*/ 1654327 w 6326724"/>
                <a:gd name="connsiteY73" fmla="*/ 756730 h 6561326"/>
                <a:gd name="connsiteX74" fmla="*/ 2261727 w 6326724"/>
                <a:gd name="connsiteY74" fmla="*/ 409720 h 6561326"/>
                <a:gd name="connsiteX75" fmla="*/ 3610060 w 6326724"/>
                <a:gd name="connsiteY75" fmla="*/ 27032 h 6561326"/>
                <a:gd name="connsiteX76" fmla="*/ 4139342 w 6326724"/>
                <a:gd name="connsiteY76" fmla="*/ 440 h 6561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326724" h="6561326">
                  <a:moveTo>
                    <a:pt x="6326724" y="5020808"/>
                  </a:moveTo>
                  <a:lnTo>
                    <a:pt x="6326724" y="5698632"/>
                  </a:lnTo>
                  <a:lnTo>
                    <a:pt x="6067438" y="5902509"/>
                  </a:lnTo>
                  <a:cubicBezTo>
                    <a:pt x="5977868" y="5970407"/>
                    <a:pt x="5888364" y="6036453"/>
                    <a:pt x="5799974" y="6102017"/>
                  </a:cubicBezTo>
                  <a:lnTo>
                    <a:pt x="5665258" y="6202100"/>
                  </a:lnTo>
                  <a:cubicBezTo>
                    <a:pt x="5619654" y="6235719"/>
                    <a:pt x="5573656" y="6269596"/>
                    <a:pt x="5526873" y="6302828"/>
                  </a:cubicBezTo>
                  <a:cubicBezTo>
                    <a:pt x="5480220" y="6336189"/>
                    <a:pt x="5433044" y="6369423"/>
                    <a:pt x="5385080" y="6402268"/>
                  </a:cubicBezTo>
                  <a:cubicBezTo>
                    <a:pt x="5336988" y="6434857"/>
                    <a:pt x="5288500" y="6467187"/>
                    <a:pt x="5238833" y="6498875"/>
                  </a:cubicBezTo>
                  <a:lnTo>
                    <a:pt x="5138040" y="6561326"/>
                  </a:lnTo>
                  <a:lnTo>
                    <a:pt x="3946072" y="6561326"/>
                  </a:lnTo>
                  <a:lnTo>
                    <a:pt x="3976009" y="6555242"/>
                  </a:lnTo>
                  <a:cubicBezTo>
                    <a:pt x="4123712" y="6519227"/>
                    <a:pt x="4266863" y="6466383"/>
                    <a:pt x="4404855" y="6399048"/>
                  </a:cubicBezTo>
                  <a:cubicBezTo>
                    <a:pt x="4589500" y="6310299"/>
                    <a:pt x="4765232" y="6196690"/>
                    <a:pt x="4938868" y="6072132"/>
                  </a:cubicBezTo>
                  <a:cubicBezTo>
                    <a:pt x="4982245" y="6041089"/>
                    <a:pt x="5025359" y="6008630"/>
                    <a:pt x="5068342" y="5976042"/>
                  </a:cubicBezTo>
                  <a:cubicBezTo>
                    <a:pt x="5111588" y="5943453"/>
                    <a:pt x="5154702" y="5910349"/>
                    <a:pt x="5197816" y="5876730"/>
                  </a:cubicBezTo>
                  <a:lnTo>
                    <a:pt x="5460039" y="5670637"/>
                  </a:lnTo>
                  <a:cubicBezTo>
                    <a:pt x="5639966" y="5530365"/>
                    <a:pt x="5821596" y="5399753"/>
                    <a:pt x="5999033" y="5271718"/>
                  </a:cubicBezTo>
                  <a:cubicBezTo>
                    <a:pt x="6087686" y="5207700"/>
                    <a:pt x="6174667" y="5143360"/>
                    <a:pt x="6258766" y="5077603"/>
                  </a:cubicBezTo>
                  <a:close/>
                  <a:moveTo>
                    <a:pt x="4139342" y="440"/>
                  </a:moveTo>
                  <a:cubicBezTo>
                    <a:pt x="4198237" y="1301"/>
                    <a:pt x="4257068" y="3427"/>
                    <a:pt x="4315744" y="6808"/>
                  </a:cubicBezTo>
                  <a:cubicBezTo>
                    <a:pt x="4550841" y="20849"/>
                    <a:pt x="4785806" y="55240"/>
                    <a:pt x="5015400" y="113591"/>
                  </a:cubicBezTo>
                  <a:cubicBezTo>
                    <a:pt x="5244992" y="171812"/>
                    <a:pt x="5469212" y="254249"/>
                    <a:pt x="5681114" y="361418"/>
                  </a:cubicBezTo>
                  <a:cubicBezTo>
                    <a:pt x="5892754" y="468586"/>
                    <a:pt x="6093124" y="599584"/>
                    <a:pt x="6270952" y="755441"/>
                  </a:cubicBezTo>
                  <a:lnTo>
                    <a:pt x="6326724" y="807432"/>
                  </a:lnTo>
                  <a:lnTo>
                    <a:pt x="6326724" y="1231565"/>
                  </a:lnTo>
                  <a:lnTo>
                    <a:pt x="6302093" y="1203002"/>
                  </a:lnTo>
                  <a:cubicBezTo>
                    <a:pt x="6227937" y="1127247"/>
                    <a:pt x="6149211" y="1056081"/>
                    <a:pt x="6066914" y="989616"/>
                  </a:cubicBezTo>
                  <a:cubicBezTo>
                    <a:pt x="5902714" y="856299"/>
                    <a:pt x="5724360" y="740371"/>
                    <a:pt x="5533688" y="647242"/>
                  </a:cubicBezTo>
                  <a:cubicBezTo>
                    <a:pt x="5343146" y="553857"/>
                    <a:pt x="5141466" y="482239"/>
                    <a:pt x="4933626" y="432262"/>
                  </a:cubicBezTo>
                  <a:cubicBezTo>
                    <a:pt x="4725788" y="382156"/>
                    <a:pt x="4512182" y="353303"/>
                    <a:pt x="4296873" y="343126"/>
                  </a:cubicBezTo>
                  <a:cubicBezTo>
                    <a:pt x="4081172" y="332435"/>
                    <a:pt x="3865732" y="339520"/>
                    <a:pt x="3651602" y="365797"/>
                  </a:cubicBezTo>
                  <a:cubicBezTo>
                    <a:pt x="3437604" y="392202"/>
                    <a:pt x="3225572" y="436384"/>
                    <a:pt x="3018256" y="496666"/>
                  </a:cubicBezTo>
                  <a:cubicBezTo>
                    <a:pt x="2810809" y="556691"/>
                    <a:pt x="2608474" y="634362"/>
                    <a:pt x="2412429" y="724399"/>
                  </a:cubicBezTo>
                  <a:cubicBezTo>
                    <a:pt x="2019160" y="902541"/>
                    <a:pt x="1651969" y="1138775"/>
                    <a:pt x="1329857" y="1424086"/>
                  </a:cubicBezTo>
                  <a:cubicBezTo>
                    <a:pt x="1169326" y="1567192"/>
                    <a:pt x="1020588" y="1723307"/>
                    <a:pt x="887314" y="1891015"/>
                  </a:cubicBezTo>
                  <a:cubicBezTo>
                    <a:pt x="753778" y="2058466"/>
                    <a:pt x="635967" y="2238026"/>
                    <a:pt x="537420" y="2427245"/>
                  </a:cubicBezTo>
                  <a:cubicBezTo>
                    <a:pt x="438874" y="2616335"/>
                    <a:pt x="356839" y="2814313"/>
                    <a:pt x="299965" y="3020021"/>
                  </a:cubicBezTo>
                  <a:cubicBezTo>
                    <a:pt x="242961" y="3225212"/>
                    <a:pt x="213474" y="3438518"/>
                    <a:pt x="213606" y="3651953"/>
                  </a:cubicBezTo>
                  <a:cubicBezTo>
                    <a:pt x="214785" y="3756804"/>
                    <a:pt x="225269" y="3860881"/>
                    <a:pt x="250036" y="3961352"/>
                  </a:cubicBezTo>
                  <a:cubicBezTo>
                    <a:pt x="274412" y="4061950"/>
                    <a:pt x="312284" y="4158171"/>
                    <a:pt x="357625" y="4250783"/>
                  </a:cubicBezTo>
                  <a:cubicBezTo>
                    <a:pt x="380558" y="4297025"/>
                    <a:pt x="405982" y="4342366"/>
                    <a:pt x="432715" y="4387063"/>
                  </a:cubicBezTo>
                  <a:cubicBezTo>
                    <a:pt x="459841" y="4431630"/>
                    <a:pt x="488803" y="4475554"/>
                    <a:pt x="518943" y="4518962"/>
                  </a:cubicBezTo>
                  <a:cubicBezTo>
                    <a:pt x="580011" y="4605521"/>
                    <a:pt x="647893" y="4689504"/>
                    <a:pt x="718133" y="4773874"/>
                  </a:cubicBezTo>
                  <a:cubicBezTo>
                    <a:pt x="788374" y="4858372"/>
                    <a:pt x="861760" y="4942871"/>
                    <a:pt x="933704" y="5030717"/>
                  </a:cubicBezTo>
                  <a:cubicBezTo>
                    <a:pt x="969742" y="5074512"/>
                    <a:pt x="1005387" y="5119337"/>
                    <a:pt x="1040900" y="5164806"/>
                  </a:cubicBezTo>
                  <a:lnTo>
                    <a:pt x="1092401" y="5230628"/>
                  </a:lnTo>
                  <a:cubicBezTo>
                    <a:pt x="1109306" y="5251624"/>
                    <a:pt x="1125425" y="5273135"/>
                    <a:pt x="1142854" y="5293615"/>
                  </a:cubicBezTo>
                  <a:cubicBezTo>
                    <a:pt x="1278880" y="5460293"/>
                    <a:pt x="1426438" y="5613704"/>
                    <a:pt x="1576354" y="5759128"/>
                  </a:cubicBezTo>
                  <a:cubicBezTo>
                    <a:pt x="1651706" y="5831519"/>
                    <a:pt x="1728368" y="5901461"/>
                    <a:pt x="1806865" y="5968571"/>
                  </a:cubicBezTo>
                  <a:cubicBezTo>
                    <a:pt x="1885362" y="6035680"/>
                    <a:pt x="1965299" y="6100599"/>
                    <a:pt x="2048253" y="6161654"/>
                  </a:cubicBezTo>
                  <a:cubicBezTo>
                    <a:pt x="2213502" y="6284022"/>
                    <a:pt x="2391724" y="6393380"/>
                    <a:pt x="2587506" y="6467059"/>
                  </a:cubicBezTo>
                  <a:cubicBezTo>
                    <a:pt x="2685137" y="6503898"/>
                    <a:pt x="2786304" y="6532106"/>
                    <a:pt x="2889176" y="6553360"/>
                  </a:cubicBezTo>
                  <a:lnTo>
                    <a:pt x="2929698" y="6561326"/>
                  </a:lnTo>
                  <a:lnTo>
                    <a:pt x="1816374" y="6561326"/>
                  </a:lnTo>
                  <a:lnTo>
                    <a:pt x="1787601" y="6545761"/>
                  </a:lnTo>
                  <a:cubicBezTo>
                    <a:pt x="1577272" y="6422749"/>
                    <a:pt x="1389483" y="6266761"/>
                    <a:pt x="1225544" y="6094158"/>
                  </a:cubicBezTo>
                  <a:cubicBezTo>
                    <a:pt x="1143116" y="6007986"/>
                    <a:pt x="1068158" y="5916274"/>
                    <a:pt x="997654" y="5822374"/>
                  </a:cubicBezTo>
                  <a:cubicBezTo>
                    <a:pt x="927546" y="5728086"/>
                    <a:pt x="860842" y="5632381"/>
                    <a:pt x="798596" y="5534615"/>
                  </a:cubicBezTo>
                  <a:cubicBezTo>
                    <a:pt x="782608" y="5510399"/>
                    <a:pt x="767537" y="5485797"/>
                    <a:pt x="752075" y="5461324"/>
                  </a:cubicBezTo>
                  <a:lnTo>
                    <a:pt x="707650" y="5390221"/>
                  </a:lnTo>
                  <a:cubicBezTo>
                    <a:pt x="679213" y="5344237"/>
                    <a:pt x="649728" y="5298638"/>
                    <a:pt x="619980" y="5252396"/>
                  </a:cubicBezTo>
                  <a:lnTo>
                    <a:pt x="438349" y="4970822"/>
                  </a:lnTo>
                  <a:cubicBezTo>
                    <a:pt x="377413" y="4874860"/>
                    <a:pt x="317263" y="4776064"/>
                    <a:pt x="261044" y="4673145"/>
                  </a:cubicBezTo>
                  <a:cubicBezTo>
                    <a:pt x="233000" y="4621622"/>
                    <a:pt x="205874" y="4569197"/>
                    <a:pt x="181107" y="4515356"/>
                  </a:cubicBezTo>
                  <a:cubicBezTo>
                    <a:pt x="156470" y="4461385"/>
                    <a:pt x="133537" y="4406385"/>
                    <a:pt x="113224" y="4350223"/>
                  </a:cubicBezTo>
                  <a:cubicBezTo>
                    <a:pt x="93305" y="4293934"/>
                    <a:pt x="75614" y="4236872"/>
                    <a:pt x="61199" y="4178908"/>
                  </a:cubicBezTo>
                  <a:cubicBezTo>
                    <a:pt x="54385" y="4149927"/>
                    <a:pt x="47440" y="4120815"/>
                    <a:pt x="41804" y="4091577"/>
                  </a:cubicBezTo>
                  <a:lnTo>
                    <a:pt x="33287" y="4047781"/>
                  </a:lnTo>
                  <a:lnTo>
                    <a:pt x="26209" y="4003858"/>
                  </a:lnTo>
                  <a:cubicBezTo>
                    <a:pt x="7732" y="3886643"/>
                    <a:pt x="0" y="3768783"/>
                    <a:pt x="0" y="3651953"/>
                  </a:cubicBezTo>
                  <a:cubicBezTo>
                    <a:pt x="524" y="3422031"/>
                    <a:pt x="25030" y="3192109"/>
                    <a:pt x="72731" y="2966307"/>
                  </a:cubicBezTo>
                  <a:cubicBezTo>
                    <a:pt x="120301" y="2740634"/>
                    <a:pt x="193163" y="2519343"/>
                    <a:pt x="291316" y="2309385"/>
                  </a:cubicBezTo>
                  <a:cubicBezTo>
                    <a:pt x="488540" y="1889469"/>
                    <a:pt x="774352" y="1513736"/>
                    <a:pt x="1110878" y="1193776"/>
                  </a:cubicBezTo>
                  <a:cubicBezTo>
                    <a:pt x="1279535" y="1033797"/>
                    <a:pt x="1461821" y="887856"/>
                    <a:pt x="1654327" y="756730"/>
                  </a:cubicBezTo>
                  <a:cubicBezTo>
                    <a:pt x="1847096" y="625732"/>
                    <a:pt x="2049956" y="509031"/>
                    <a:pt x="2261727" y="409720"/>
                  </a:cubicBezTo>
                  <a:cubicBezTo>
                    <a:pt x="2685792" y="212515"/>
                    <a:pt x="3142357" y="82162"/>
                    <a:pt x="3610060" y="27032"/>
                  </a:cubicBezTo>
                  <a:cubicBezTo>
                    <a:pt x="3785399" y="6647"/>
                    <a:pt x="3962657" y="-2144"/>
                    <a:pt x="4139342" y="44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BC4A6C98-F96E-4587-B01F-A9B01BBFAD0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70322" y="353119"/>
              <a:ext cx="6321679" cy="6521594"/>
            </a:xfrm>
            <a:custGeom>
              <a:avLst/>
              <a:gdLst>
                <a:gd name="connsiteX0" fmla="*/ 4150102 w 6321679"/>
                <a:gd name="connsiteY0" fmla="*/ 0 h 6521594"/>
                <a:gd name="connsiteX1" fmla="*/ 6083891 w 6321679"/>
                <a:gd name="connsiteY1" fmla="*/ 619943 h 6521594"/>
                <a:gd name="connsiteX2" fmla="*/ 6321679 w 6321679"/>
                <a:gd name="connsiteY2" fmla="*/ 822247 h 6521594"/>
                <a:gd name="connsiteX3" fmla="*/ 6321679 w 6321679"/>
                <a:gd name="connsiteY3" fmla="*/ 1866928 h 6521594"/>
                <a:gd name="connsiteX4" fmla="*/ 6212358 w 6321679"/>
                <a:gd name="connsiteY4" fmla="*/ 1689281 h 6521594"/>
                <a:gd name="connsiteX5" fmla="*/ 6049880 w 6321679"/>
                <a:gd name="connsiteY5" fmla="*/ 1477173 h 6521594"/>
                <a:gd name="connsiteX6" fmla="*/ 5248663 w 6321679"/>
                <a:gd name="connsiteY6" fmla="*/ 869327 h 6521594"/>
                <a:gd name="connsiteX7" fmla="*/ 4150102 w 6321679"/>
                <a:gd name="connsiteY7" fmla="*/ 644042 h 6521594"/>
                <a:gd name="connsiteX8" fmla="*/ 2867946 w 6321679"/>
                <a:gd name="connsiteY8" fmla="*/ 886459 h 6521594"/>
                <a:gd name="connsiteX9" fmla="*/ 1728892 w 6321679"/>
                <a:gd name="connsiteY9" fmla="*/ 1552397 h 6521594"/>
                <a:gd name="connsiteX10" fmla="*/ 941043 w 6321679"/>
                <a:gd name="connsiteY10" fmla="*/ 2512664 h 6521594"/>
                <a:gd name="connsiteX11" fmla="*/ 655362 w 6321679"/>
                <a:gd name="connsiteY11" fmla="*/ 3630204 h 6521594"/>
                <a:gd name="connsiteX12" fmla="*/ 1128177 w 6321679"/>
                <a:gd name="connsiteY12" fmla="*/ 4667883 h 6521594"/>
                <a:gd name="connsiteX13" fmla="*/ 1366419 w 6321679"/>
                <a:gd name="connsiteY13" fmla="*/ 4997246 h 6521594"/>
                <a:gd name="connsiteX14" fmla="*/ 3601937 w 6321679"/>
                <a:gd name="connsiteY14" fmla="*/ 6284685 h 6521594"/>
                <a:gd name="connsiteX15" fmla="*/ 5298985 w 6321679"/>
                <a:gd name="connsiteY15" fmla="*/ 5492643 h 6521594"/>
                <a:gd name="connsiteX16" fmla="*/ 5505513 w 6321679"/>
                <a:gd name="connsiteY16" fmla="*/ 5335367 h 6521594"/>
                <a:gd name="connsiteX17" fmla="*/ 6252618 w 6321679"/>
                <a:gd name="connsiteY17" fmla="*/ 4722492 h 6521594"/>
                <a:gd name="connsiteX18" fmla="*/ 6321679 w 6321679"/>
                <a:gd name="connsiteY18" fmla="*/ 4651477 h 6521594"/>
                <a:gd name="connsiteX19" fmla="*/ 6321679 w 6321679"/>
                <a:gd name="connsiteY19" fmla="*/ 5523097 h 6521594"/>
                <a:gd name="connsiteX20" fmla="*/ 6024428 w 6321679"/>
                <a:gd name="connsiteY20" fmla="*/ 5754969 h 6521594"/>
                <a:gd name="connsiteX21" fmla="*/ 5702345 w 6321679"/>
                <a:gd name="connsiteY21" fmla="*/ 6000018 h 6521594"/>
                <a:gd name="connsiteX22" fmla="*/ 4988380 w 6321679"/>
                <a:gd name="connsiteY22" fmla="*/ 6506549 h 6521594"/>
                <a:gd name="connsiteX23" fmla="*/ 4961490 w 6321679"/>
                <a:gd name="connsiteY23" fmla="*/ 6521594 h 6521594"/>
                <a:gd name="connsiteX24" fmla="*/ 2011326 w 6321679"/>
                <a:gd name="connsiteY24" fmla="*/ 6521594 h 6521594"/>
                <a:gd name="connsiteX25" fmla="*/ 1982893 w 6321679"/>
                <a:gd name="connsiteY25" fmla="*/ 6505768 h 6521594"/>
                <a:gd name="connsiteX26" fmla="*/ 824149 w 6321679"/>
                <a:gd name="connsiteY26" fmla="*/ 5358682 h 6521594"/>
                <a:gd name="connsiteX27" fmla="*/ 0 w 6321679"/>
                <a:gd name="connsiteY27" fmla="*/ 3630075 h 6521594"/>
                <a:gd name="connsiteX28" fmla="*/ 4150102 w 6321679"/>
                <a:gd name="connsiteY28" fmla="*/ 0 h 652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321679" h="6521594">
                  <a:moveTo>
                    <a:pt x="4150102" y="0"/>
                  </a:moveTo>
                  <a:cubicBezTo>
                    <a:pt x="4918148" y="0"/>
                    <a:pt x="5569597" y="228540"/>
                    <a:pt x="6083891" y="619943"/>
                  </a:cubicBezTo>
                  <a:lnTo>
                    <a:pt x="6321679" y="822247"/>
                  </a:lnTo>
                  <a:lnTo>
                    <a:pt x="6321679" y="1866928"/>
                  </a:lnTo>
                  <a:lnTo>
                    <a:pt x="6212358" y="1689281"/>
                  </a:lnTo>
                  <a:cubicBezTo>
                    <a:pt x="6161484" y="1615222"/>
                    <a:pt x="6107295" y="1544427"/>
                    <a:pt x="6049880" y="1477173"/>
                  </a:cubicBezTo>
                  <a:cubicBezTo>
                    <a:pt x="5825135" y="1214018"/>
                    <a:pt x="5555573" y="1009470"/>
                    <a:pt x="5248663" y="869327"/>
                  </a:cubicBezTo>
                  <a:cubicBezTo>
                    <a:pt x="4921178" y="719909"/>
                    <a:pt x="4551627" y="644042"/>
                    <a:pt x="4150102" y="644042"/>
                  </a:cubicBezTo>
                  <a:cubicBezTo>
                    <a:pt x="3724203" y="644042"/>
                    <a:pt x="3292799" y="725448"/>
                    <a:pt x="2867946" y="886459"/>
                  </a:cubicBezTo>
                  <a:cubicBezTo>
                    <a:pt x="2454234" y="1042832"/>
                    <a:pt x="2060440" y="1273141"/>
                    <a:pt x="1728892" y="1552397"/>
                  </a:cubicBezTo>
                  <a:cubicBezTo>
                    <a:pt x="1391580" y="1836419"/>
                    <a:pt x="1126473" y="2159600"/>
                    <a:pt x="941043" y="2512664"/>
                  </a:cubicBezTo>
                  <a:cubicBezTo>
                    <a:pt x="751551" y="2873583"/>
                    <a:pt x="655362" y="3249575"/>
                    <a:pt x="655362" y="3630204"/>
                  </a:cubicBezTo>
                  <a:cubicBezTo>
                    <a:pt x="655362" y="4013537"/>
                    <a:pt x="808817" y="4237405"/>
                    <a:pt x="1128177" y="4667883"/>
                  </a:cubicBezTo>
                  <a:cubicBezTo>
                    <a:pt x="1205232" y="4771702"/>
                    <a:pt x="1284908" y="4879129"/>
                    <a:pt x="1366419" y="4997246"/>
                  </a:cubicBezTo>
                  <a:cubicBezTo>
                    <a:pt x="1989282" y="5899677"/>
                    <a:pt x="2657880" y="6284685"/>
                    <a:pt x="3601937" y="6284685"/>
                  </a:cubicBezTo>
                  <a:cubicBezTo>
                    <a:pt x="4221523" y="6284685"/>
                    <a:pt x="4676122" y="5971036"/>
                    <a:pt x="5298985" y="5492643"/>
                  </a:cubicBezTo>
                  <a:cubicBezTo>
                    <a:pt x="5368571" y="5439187"/>
                    <a:pt x="5438156" y="5386375"/>
                    <a:pt x="5505513" y="5335367"/>
                  </a:cubicBezTo>
                  <a:cubicBezTo>
                    <a:pt x="5779335" y="5127761"/>
                    <a:pt x="6041730" y="4928776"/>
                    <a:pt x="6252618" y="4722492"/>
                  </a:cubicBezTo>
                  <a:lnTo>
                    <a:pt x="6321679" y="4651477"/>
                  </a:lnTo>
                  <a:lnTo>
                    <a:pt x="6321679" y="5523097"/>
                  </a:lnTo>
                  <a:lnTo>
                    <a:pt x="6024428" y="5754969"/>
                  </a:lnTo>
                  <a:cubicBezTo>
                    <a:pt x="5918395" y="5835747"/>
                    <a:pt x="5810491" y="5916953"/>
                    <a:pt x="5702345" y="6000018"/>
                  </a:cubicBezTo>
                  <a:cubicBezTo>
                    <a:pt x="5466020" y="6181541"/>
                    <a:pt x="5232938" y="6357503"/>
                    <a:pt x="4988380" y="6506549"/>
                  </a:cubicBezTo>
                  <a:lnTo>
                    <a:pt x="4961490" y="6521594"/>
                  </a:lnTo>
                  <a:lnTo>
                    <a:pt x="2011326" y="6521594"/>
                  </a:lnTo>
                  <a:lnTo>
                    <a:pt x="1982893" y="6505768"/>
                  </a:lnTo>
                  <a:cubicBezTo>
                    <a:pt x="1531799" y="6233999"/>
                    <a:pt x="1157400" y="5841520"/>
                    <a:pt x="824149" y="5358682"/>
                  </a:cubicBezTo>
                  <a:cubicBezTo>
                    <a:pt x="424196" y="4779302"/>
                    <a:pt x="0" y="4381929"/>
                    <a:pt x="0" y="3630075"/>
                  </a:cubicBezTo>
                  <a:cubicBezTo>
                    <a:pt x="0" y="1625174"/>
                    <a:pt x="2089794" y="0"/>
                    <a:pt x="4150102" y="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A66409EC-9CC3-482A-A4A5-54ED092B3F2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70322" y="353119"/>
              <a:ext cx="6321679" cy="6521594"/>
            </a:xfrm>
            <a:custGeom>
              <a:avLst/>
              <a:gdLst>
                <a:gd name="connsiteX0" fmla="*/ 4150102 w 6321679"/>
                <a:gd name="connsiteY0" fmla="*/ 0 h 6521594"/>
                <a:gd name="connsiteX1" fmla="*/ 6083891 w 6321679"/>
                <a:gd name="connsiteY1" fmla="*/ 619943 h 6521594"/>
                <a:gd name="connsiteX2" fmla="*/ 6321679 w 6321679"/>
                <a:gd name="connsiteY2" fmla="*/ 822247 h 6521594"/>
                <a:gd name="connsiteX3" fmla="*/ 6321679 w 6321679"/>
                <a:gd name="connsiteY3" fmla="*/ 2150195 h 6521594"/>
                <a:gd name="connsiteX4" fmla="*/ 6241288 w 6321679"/>
                <a:gd name="connsiteY4" fmla="*/ 1985338 h 6521594"/>
                <a:gd name="connsiteX5" fmla="*/ 5949367 w 6321679"/>
                <a:gd name="connsiteY5" fmla="*/ 1559997 h 6521594"/>
                <a:gd name="connsiteX6" fmla="*/ 5193362 w 6321679"/>
                <a:gd name="connsiteY6" fmla="*/ 986156 h 6521594"/>
                <a:gd name="connsiteX7" fmla="*/ 4150102 w 6321679"/>
                <a:gd name="connsiteY7" fmla="*/ 772850 h 6521594"/>
                <a:gd name="connsiteX8" fmla="*/ 2914861 w 6321679"/>
                <a:gd name="connsiteY8" fmla="*/ 1006637 h 6521594"/>
                <a:gd name="connsiteX9" fmla="*/ 1814073 w 6321679"/>
                <a:gd name="connsiteY9" fmla="*/ 1650163 h 6521594"/>
                <a:gd name="connsiteX10" fmla="*/ 1057412 w 6321679"/>
                <a:gd name="connsiteY10" fmla="*/ 2571657 h 6521594"/>
                <a:gd name="connsiteX11" fmla="*/ 786277 w 6321679"/>
                <a:gd name="connsiteY11" fmla="*/ 3630204 h 6521594"/>
                <a:gd name="connsiteX12" fmla="*/ 1233931 w 6321679"/>
                <a:gd name="connsiteY12" fmla="*/ 4592016 h 6521594"/>
                <a:gd name="connsiteX13" fmla="*/ 1474795 w 6321679"/>
                <a:gd name="connsiteY13" fmla="*/ 4924985 h 6521594"/>
                <a:gd name="connsiteX14" fmla="*/ 2393691 w 6321679"/>
                <a:gd name="connsiteY14" fmla="*/ 5846995 h 6521594"/>
                <a:gd name="connsiteX15" fmla="*/ 3601805 w 6321679"/>
                <a:gd name="connsiteY15" fmla="*/ 6155876 h 6521594"/>
                <a:gd name="connsiteX16" fmla="*/ 4378909 w 6321679"/>
                <a:gd name="connsiteY16" fmla="*/ 5959186 h 6521594"/>
                <a:gd name="connsiteX17" fmla="*/ 5218129 w 6321679"/>
                <a:gd name="connsiteY17" fmla="*/ 5391271 h 6521594"/>
                <a:gd name="connsiteX18" fmla="*/ 5425313 w 6321679"/>
                <a:gd name="connsiteY18" fmla="*/ 5233481 h 6521594"/>
                <a:gd name="connsiteX19" fmla="*/ 6254366 w 6321679"/>
                <a:gd name="connsiteY19" fmla="*/ 4534301 h 6521594"/>
                <a:gd name="connsiteX20" fmla="*/ 6321679 w 6321679"/>
                <a:gd name="connsiteY20" fmla="*/ 4456641 h 6521594"/>
                <a:gd name="connsiteX21" fmla="*/ 6321679 w 6321679"/>
                <a:gd name="connsiteY21" fmla="*/ 5523097 h 6521594"/>
                <a:gd name="connsiteX22" fmla="*/ 6024428 w 6321679"/>
                <a:gd name="connsiteY22" fmla="*/ 5754969 h 6521594"/>
                <a:gd name="connsiteX23" fmla="*/ 5702345 w 6321679"/>
                <a:gd name="connsiteY23" fmla="*/ 6000018 h 6521594"/>
                <a:gd name="connsiteX24" fmla="*/ 4988380 w 6321679"/>
                <a:gd name="connsiteY24" fmla="*/ 6506549 h 6521594"/>
                <a:gd name="connsiteX25" fmla="*/ 4961490 w 6321679"/>
                <a:gd name="connsiteY25" fmla="*/ 6521594 h 6521594"/>
                <a:gd name="connsiteX26" fmla="*/ 2011326 w 6321679"/>
                <a:gd name="connsiteY26" fmla="*/ 6521594 h 6521594"/>
                <a:gd name="connsiteX27" fmla="*/ 1982893 w 6321679"/>
                <a:gd name="connsiteY27" fmla="*/ 6505768 h 6521594"/>
                <a:gd name="connsiteX28" fmla="*/ 824149 w 6321679"/>
                <a:gd name="connsiteY28" fmla="*/ 5358682 h 6521594"/>
                <a:gd name="connsiteX29" fmla="*/ 0 w 6321679"/>
                <a:gd name="connsiteY29" fmla="*/ 3630075 h 6521594"/>
                <a:gd name="connsiteX30" fmla="*/ 4150102 w 6321679"/>
                <a:gd name="connsiteY30" fmla="*/ 0 h 652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321679" h="6521594">
                  <a:moveTo>
                    <a:pt x="4150102" y="0"/>
                  </a:moveTo>
                  <a:cubicBezTo>
                    <a:pt x="4918148" y="0"/>
                    <a:pt x="5569597" y="228540"/>
                    <a:pt x="6083891" y="619943"/>
                  </a:cubicBezTo>
                  <a:lnTo>
                    <a:pt x="6321679" y="822247"/>
                  </a:lnTo>
                  <a:lnTo>
                    <a:pt x="6321679" y="2150195"/>
                  </a:lnTo>
                  <a:lnTo>
                    <a:pt x="6241288" y="1985338"/>
                  </a:lnTo>
                  <a:cubicBezTo>
                    <a:pt x="6156788" y="1831195"/>
                    <a:pt x="6059249" y="1688709"/>
                    <a:pt x="5949367" y="1559997"/>
                  </a:cubicBezTo>
                  <a:cubicBezTo>
                    <a:pt x="5737073" y="1311397"/>
                    <a:pt x="5482843" y="1118314"/>
                    <a:pt x="5193362" y="986156"/>
                  </a:cubicBezTo>
                  <a:cubicBezTo>
                    <a:pt x="4883437" y="844596"/>
                    <a:pt x="4532365" y="772850"/>
                    <a:pt x="4150102" y="772850"/>
                  </a:cubicBezTo>
                  <a:cubicBezTo>
                    <a:pt x="3746218" y="772850"/>
                    <a:pt x="3319008" y="853613"/>
                    <a:pt x="2914861" y="1006637"/>
                  </a:cubicBezTo>
                  <a:cubicBezTo>
                    <a:pt x="2515039" y="1157857"/>
                    <a:pt x="2134350" y="1380438"/>
                    <a:pt x="1814073" y="1650163"/>
                  </a:cubicBezTo>
                  <a:cubicBezTo>
                    <a:pt x="1494190" y="1919502"/>
                    <a:pt x="1232622" y="2238173"/>
                    <a:pt x="1057412" y="2571657"/>
                  </a:cubicBezTo>
                  <a:cubicBezTo>
                    <a:pt x="877486" y="2914158"/>
                    <a:pt x="786277" y="3270313"/>
                    <a:pt x="786277" y="3630204"/>
                  </a:cubicBezTo>
                  <a:cubicBezTo>
                    <a:pt x="786277" y="3974121"/>
                    <a:pt x="923483" y="4173646"/>
                    <a:pt x="1233931" y="4592016"/>
                  </a:cubicBezTo>
                  <a:cubicBezTo>
                    <a:pt x="1311641" y="4696736"/>
                    <a:pt x="1391972" y="4805064"/>
                    <a:pt x="1474795" y="4924985"/>
                  </a:cubicBezTo>
                  <a:cubicBezTo>
                    <a:pt x="1767682" y="5349278"/>
                    <a:pt x="2068172" y="5650948"/>
                    <a:pt x="2393691" y="5846995"/>
                  </a:cubicBezTo>
                  <a:cubicBezTo>
                    <a:pt x="2738735" y="6054891"/>
                    <a:pt x="3133971" y="6155876"/>
                    <a:pt x="3601805" y="6155876"/>
                  </a:cubicBezTo>
                  <a:cubicBezTo>
                    <a:pt x="3867305" y="6155876"/>
                    <a:pt x="4114196" y="6093405"/>
                    <a:pt x="4378909" y="5959186"/>
                  </a:cubicBezTo>
                  <a:cubicBezTo>
                    <a:pt x="4650699" y="5821362"/>
                    <a:pt x="4919737" y="5620421"/>
                    <a:pt x="5218129" y="5391271"/>
                  </a:cubicBezTo>
                  <a:cubicBezTo>
                    <a:pt x="5288107" y="5337558"/>
                    <a:pt x="5357824" y="5284617"/>
                    <a:pt x="5425313" y="5233481"/>
                  </a:cubicBezTo>
                  <a:cubicBezTo>
                    <a:pt x="5739037" y="4995556"/>
                    <a:pt x="6037512" y="4769168"/>
                    <a:pt x="6254366" y="4534301"/>
                  </a:cubicBezTo>
                  <a:lnTo>
                    <a:pt x="6321679" y="4456641"/>
                  </a:lnTo>
                  <a:lnTo>
                    <a:pt x="6321679" y="5523097"/>
                  </a:lnTo>
                  <a:lnTo>
                    <a:pt x="6024428" y="5754969"/>
                  </a:lnTo>
                  <a:cubicBezTo>
                    <a:pt x="5918395" y="5835747"/>
                    <a:pt x="5810491" y="5916953"/>
                    <a:pt x="5702345" y="6000018"/>
                  </a:cubicBezTo>
                  <a:cubicBezTo>
                    <a:pt x="5466020" y="6181541"/>
                    <a:pt x="5232938" y="6357503"/>
                    <a:pt x="4988380" y="6506549"/>
                  </a:cubicBezTo>
                  <a:lnTo>
                    <a:pt x="4961490" y="6521594"/>
                  </a:lnTo>
                  <a:lnTo>
                    <a:pt x="2011326" y="6521594"/>
                  </a:lnTo>
                  <a:lnTo>
                    <a:pt x="1982893" y="6505768"/>
                  </a:lnTo>
                  <a:cubicBezTo>
                    <a:pt x="1531799" y="6233999"/>
                    <a:pt x="1157400" y="5841520"/>
                    <a:pt x="824149" y="5358682"/>
                  </a:cubicBezTo>
                  <a:cubicBezTo>
                    <a:pt x="424196" y="4779302"/>
                    <a:pt x="0" y="4381929"/>
                    <a:pt x="0" y="3630075"/>
                  </a:cubicBezTo>
                  <a:cubicBezTo>
                    <a:pt x="0" y="1625174"/>
                    <a:pt x="2089794" y="0"/>
                    <a:pt x="4150102" y="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 name="Picture 6" descr="Icon&#10;&#10;Description automatically generated">
            <a:extLst>
              <a:ext uri="{FF2B5EF4-FFF2-40B4-BE49-F238E27FC236}">
                <a16:creationId xmlns:a16="http://schemas.microsoft.com/office/drawing/2014/main" id="{E1488EF1-D0E7-D64F-BC3C-F0AF7E2395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08392" y="3212481"/>
            <a:ext cx="4142232" cy="1356581"/>
          </a:xfrm>
          <a:prstGeom prst="rect">
            <a:avLst/>
          </a:prstGeom>
        </p:spPr>
      </p:pic>
    </p:spTree>
    <p:extLst>
      <p:ext uri="{BB962C8B-B14F-4D97-AF65-F5344CB8AC3E}">
        <p14:creationId xmlns:p14="http://schemas.microsoft.com/office/powerpoint/2010/main" val="10612794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B566528-1B12-4246-9431-5C2D7D0811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0F9E3429-0B0E-B44F-BDD6-97CC3C6067FE}"/>
              </a:ext>
            </a:extLst>
          </p:cNvPr>
          <p:cNvSpPr>
            <a:spLocks noGrp="1"/>
          </p:cNvSpPr>
          <p:nvPr>
            <p:ph idx="1"/>
          </p:nvPr>
        </p:nvSpPr>
        <p:spPr>
          <a:xfrm>
            <a:off x="643469" y="543147"/>
            <a:ext cx="6394640" cy="5633816"/>
          </a:xfrm>
        </p:spPr>
        <p:txBody>
          <a:bodyPr>
            <a:normAutofit fontScale="92500" lnSpcReduction="20000"/>
          </a:bodyPr>
          <a:lstStyle/>
          <a:p>
            <a:pPr marL="0" indent="0">
              <a:buNone/>
            </a:pPr>
            <a:endParaRPr lang="nb-NO" sz="1000" dirty="0"/>
          </a:p>
          <a:p>
            <a:pPr marL="0" indent="0">
              <a:buNone/>
            </a:pPr>
            <a:r>
              <a:rPr lang="nb-NO" sz="2000" b="1" dirty="0"/>
              <a:t>CRPD – status sjekk?</a:t>
            </a:r>
          </a:p>
          <a:p>
            <a:r>
              <a:rPr lang="en-US" sz="2000" dirty="0" err="1"/>
              <a:t>Vedtatt</a:t>
            </a:r>
            <a:r>
              <a:rPr lang="en-US" sz="2000" dirty="0"/>
              <a:t> </a:t>
            </a:r>
            <a:r>
              <a:rPr lang="en-US" sz="2000" dirty="0" err="1"/>
              <a:t>i</a:t>
            </a:r>
            <a:r>
              <a:rPr lang="en-US" sz="2000" dirty="0"/>
              <a:t> FN </a:t>
            </a:r>
            <a:r>
              <a:rPr lang="en-US" sz="2000" dirty="0" err="1"/>
              <a:t>i</a:t>
            </a:r>
            <a:r>
              <a:rPr lang="en-US" sz="2000" dirty="0"/>
              <a:t> 2006, </a:t>
            </a:r>
            <a:r>
              <a:rPr lang="en-US" sz="2000" dirty="0" err="1"/>
              <a:t>ratifisert</a:t>
            </a:r>
            <a:r>
              <a:rPr lang="en-US" sz="2000" dirty="0"/>
              <a:t> av Norge </a:t>
            </a:r>
            <a:r>
              <a:rPr lang="en-US" sz="2000" dirty="0" err="1"/>
              <a:t>i</a:t>
            </a:r>
            <a:r>
              <a:rPr lang="en-US" sz="2000" dirty="0"/>
              <a:t> 2013 med </a:t>
            </a:r>
            <a:r>
              <a:rPr lang="en-US" sz="2000" dirty="0" err="1"/>
              <a:t>tolkningserklæringer</a:t>
            </a:r>
            <a:r>
              <a:rPr lang="en-US" sz="2000" dirty="0"/>
              <a:t>.</a:t>
            </a:r>
          </a:p>
          <a:p>
            <a:r>
              <a:rPr lang="en-GB" sz="2000" dirty="0" err="1"/>
              <a:t>Gjennomføringen</a:t>
            </a:r>
            <a:r>
              <a:rPr lang="en-GB" sz="2000" dirty="0"/>
              <a:t> </a:t>
            </a:r>
            <a:r>
              <a:rPr lang="en-GB" sz="2000" dirty="0" err="1"/>
              <a:t>av</a:t>
            </a:r>
            <a:r>
              <a:rPr lang="en-GB" sz="2000" dirty="0"/>
              <a:t> de </a:t>
            </a:r>
            <a:r>
              <a:rPr lang="en-GB" sz="2000" dirty="0" err="1"/>
              <a:t>endringer</a:t>
            </a:r>
            <a:r>
              <a:rPr lang="en-GB" sz="2000" dirty="0"/>
              <a:t> </a:t>
            </a:r>
            <a:r>
              <a:rPr lang="en-GB" sz="2000" dirty="0" err="1"/>
              <a:t>konvensjonen</a:t>
            </a:r>
            <a:r>
              <a:rPr lang="en-GB" sz="2000" dirty="0"/>
              <a:t> </a:t>
            </a:r>
            <a:r>
              <a:rPr lang="en-GB" sz="2000" dirty="0" err="1"/>
              <a:t>krever</a:t>
            </a:r>
            <a:r>
              <a:rPr lang="en-GB" sz="2000" dirty="0"/>
              <a:t> </a:t>
            </a:r>
            <a:r>
              <a:rPr lang="en-GB" sz="2000" dirty="0" err="1"/>
              <a:t>har</a:t>
            </a:r>
            <a:r>
              <a:rPr lang="en-GB" sz="2000" dirty="0"/>
              <a:t> </a:t>
            </a:r>
            <a:r>
              <a:rPr lang="en-GB" sz="2000" dirty="0" err="1"/>
              <a:t>gått</a:t>
            </a:r>
            <a:r>
              <a:rPr lang="en-GB" sz="2000" dirty="0"/>
              <a:t> </a:t>
            </a:r>
            <a:r>
              <a:rPr lang="en-GB" sz="2000" dirty="0" err="1"/>
              <a:t>sakte</a:t>
            </a:r>
            <a:r>
              <a:rPr lang="en-GB" sz="2000" dirty="0"/>
              <a:t> </a:t>
            </a:r>
            <a:r>
              <a:rPr lang="en-GB" sz="2000" dirty="0" err="1"/>
              <a:t>fremover</a:t>
            </a:r>
            <a:r>
              <a:rPr lang="en-GB" sz="2000" dirty="0"/>
              <a:t> </a:t>
            </a:r>
            <a:r>
              <a:rPr lang="en-GB" sz="2000" dirty="0" err="1"/>
              <a:t>i</a:t>
            </a:r>
            <a:r>
              <a:rPr lang="en-GB" sz="2000" dirty="0"/>
              <a:t> Norge, </a:t>
            </a:r>
            <a:r>
              <a:rPr lang="en-GB" sz="2000" dirty="0" err="1"/>
              <a:t>og</a:t>
            </a:r>
            <a:r>
              <a:rPr lang="en-GB" sz="2000" dirty="0"/>
              <a:t> </a:t>
            </a:r>
            <a:r>
              <a:rPr lang="en-GB" sz="2000" dirty="0" err="1"/>
              <a:t>har</a:t>
            </a:r>
            <a:r>
              <a:rPr lang="en-GB" sz="2000" dirty="0"/>
              <a:t> </a:t>
            </a:r>
            <a:r>
              <a:rPr lang="nb-NO" sz="2000" dirty="0"/>
              <a:t>møtt av motstand og hindringer</a:t>
            </a:r>
          </a:p>
          <a:p>
            <a:r>
              <a:rPr lang="nb-NO" sz="2000" dirty="0"/>
              <a:t>I mars 2021 stemte regjeringen for tredje gang mot at CRPD skal inkorporeres i norsk lov. Det fremste argumentet mot inkorporering var at psykiske helsetjenester i Norge fortsatt skal kunne behandle mennesker mot deres vilje, og at man skal kunne bruke umyndiggjøring/ vergemål. </a:t>
            </a:r>
            <a:r>
              <a:rPr lang="nb-NO" sz="2000" b="1" dirty="0"/>
              <a:t>(brudd på rettighetene i henhold til CRPD).</a:t>
            </a:r>
          </a:p>
          <a:p>
            <a:r>
              <a:rPr lang="nb-NO" sz="2000" b="1" dirty="0"/>
              <a:t>Hurdalerklæringen lover inkorporering</a:t>
            </a:r>
          </a:p>
          <a:p>
            <a:pPr marL="0" indent="0">
              <a:buNone/>
            </a:pPr>
            <a:endParaRPr lang="nb-NO" sz="2000" dirty="0"/>
          </a:p>
          <a:p>
            <a:pPr marL="0" indent="0">
              <a:buNone/>
            </a:pPr>
            <a:r>
              <a:rPr lang="nb-NO" sz="2000" b="1" dirty="0"/>
              <a:t> CRPD-komiteen til Norge våren 2019</a:t>
            </a:r>
          </a:p>
          <a:p>
            <a:r>
              <a:rPr lang="nb-NO" sz="2000" dirty="0"/>
              <a:t>skiftet fra en medisinsk modell til en sosial/ menneskerettslig modell som ligger i CRPD ikke hadde fått feste i Norge</a:t>
            </a:r>
          </a:p>
          <a:p>
            <a:r>
              <a:rPr lang="nb-NO" sz="2000" dirty="0"/>
              <a:t>Klare anbefalinger som gjelder endring i lovverk og tvang</a:t>
            </a:r>
          </a:p>
          <a:p>
            <a:r>
              <a:rPr lang="nb-NO" sz="2000" dirty="0"/>
              <a:t>kunnskapsbygging og opplæring i den sosiale/menneskerettslige modellen for funksjonshemming </a:t>
            </a:r>
          </a:p>
          <a:p>
            <a:pPr marL="0" indent="0">
              <a:buNone/>
            </a:pPr>
            <a:endParaRPr lang="nb-NO" sz="1000" dirty="0"/>
          </a:p>
        </p:txBody>
      </p:sp>
      <p:grpSp>
        <p:nvGrpSpPr>
          <p:cNvPr id="14" name="Group 13">
            <a:extLst>
              <a:ext uri="{FF2B5EF4-FFF2-40B4-BE49-F238E27FC236}">
                <a16:creationId xmlns:a16="http://schemas.microsoft.com/office/drawing/2014/main" id="{828A5161-06F1-46CF-8AD7-844680A59E1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4601497"/>
            <a:ext cx="1014060" cy="2017580"/>
            <a:chOff x="0" y="4601497"/>
            <a:chExt cx="1014060" cy="2017580"/>
          </a:xfrm>
        </p:grpSpPr>
        <p:sp>
          <p:nvSpPr>
            <p:cNvPr id="15" name="Isosceles Triangle 14">
              <a:extLst>
                <a:ext uri="{FF2B5EF4-FFF2-40B4-BE49-F238E27FC236}">
                  <a16:creationId xmlns:a16="http://schemas.microsoft.com/office/drawing/2014/main" id="{D3F51FEB-38FB-4F6C-9F7B-2F2AFAB6546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01760" y="5103257"/>
              <a:ext cx="2017580" cy="1014060"/>
            </a:xfrm>
            <a:prstGeom prst="triangle">
              <a:avLst>
                <a:gd name="adj" fmla="val 50000"/>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1E547BA6-BAE0-43BB-A7CA-60F69CE252F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427916" y="5728708"/>
              <a:ext cx="485578" cy="48557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 name="Picture 6" descr="Icon&#10;&#10;Description automatically generated">
            <a:extLst>
              <a:ext uri="{FF2B5EF4-FFF2-40B4-BE49-F238E27FC236}">
                <a16:creationId xmlns:a16="http://schemas.microsoft.com/office/drawing/2014/main" id="{E1488EF1-D0E7-D64F-BC3C-F0AF7E2395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90509" y="3017308"/>
            <a:ext cx="4377469" cy="1433621"/>
          </a:xfrm>
          <a:prstGeom prst="rect">
            <a:avLst/>
          </a:prstGeom>
        </p:spPr>
      </p:pic>
      <p:grpSp>
        <p:nvGrpSpPr>
          <p:cNvPr id="18" name="Group 17">
            <a:extLst>
              <a:ext uri="{FF2B5EF4-FFF2-40B4-BE49-F238E27FC236}">
                <a16:creationId xmlns:a16="http://schemas.microsoft.com/office/drawing/2014/main" id="{5995D10D-E9C9-47DB-AE7E-801FEF38F5C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219290" y="1"/>
            <a:ext cx="972709" cy="1935307"/>
            <a:chOff x="10918968" y="713127"/>
            <a:chExt cx="1273032" cy="2532832"/>
          </a:xfrm>
        </p:grpSpPr>
        <p:sp>
          <p:nvSpPr>
            <p:cNvPr id="19" name="Rectangle 18">
              <a:extLst>
                <a:ext uri="{FF2B5EF4-FFF2-40B4-BE49-F238E27FC236}">
                  <a16:creationId xmlns:a16="http://schemas.microsoft.com/office/drawing/2014/main" id="{CC1A72C6-3DE4-4EC3-9AD5-9E0D40D8CE8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11052629" y="2120024"/>
              <a:ext cx="645368" cy="645368"/>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sosceles Triangle 19">
              <a:extLst>
                <a:ext uri="{FF2B5EF4-FFF2-40B4-BE49-F238E27FC236}">
                  <a16:creationId xmlns:a16="http://schemas.microsoft.com/office/drawing/2014/main" id="{0B0DA1F1-C391-4EDF-9FE0-23E86E13776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10289068" y="1343027"/>
              <a:ext cx="2532832" cy="1273032"/>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2319377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566528-1B12-4246-9431-5C2D7D0811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643467" y="321734"/>
            <a:ext cx="10905066" cy="1135737"/>
          </a:xfrm>
        </p:spPr>
        <p:txBody>
          <a:bodyPr>
            <a:normAutofit/>
          </a:bodyPr>
          <a:lstStyle/>
          <a:p>
            <a:r>
              <a:rPr lang="en-US" sz="3600" dirty="0" err="1"/>
              <a:t>Hva</a:t>
            </a:r>
            <a:r>
              <a:rPr lang="en-US" sz="3600" dirty="0"/>
              <a:t> </a:t>
            </a:r>
            <a:r>
              <a:rPr lang="en-US" sz="3600" dirty="0" err="1"/>
              <a:t>kan</a:t>
            </a:r>
            <a:r>
              <a:rPr lang="en-US" sz="3600" dirty="0"/>
              <a:t> QualityRights </a:t>
            </a:r>
            <a:r>
              <a:rPr lang="en-US" sz="3600" dirty="0" err="1"/>
              <a:t>tilby</a:t>
            </a:r>
            <a:r>
              <a:rPr lang="en-US" sz="3600" dirty="0"/>
              <a:t>?</a:t>
            </a:r>
          </a:p>
        </p:txBody>
      </p:sp>
      <p:sp>
        <p:nvSpPr>
          <p:cNvPr id="3" name="Content Placeholder 2"/>
          <p:cNvSpPr>
            <a:spLocks noGrp="1"/>
          </p:cNvSpPr>
          <p:nvPr>
            <p:ph idx="1"/>
          </p:nvPr>
        </p:nvSpPr>
        <p:spPr>
          <a:xfrm>
            <a:off x="643467" y="1782981"/>
            <a:ext cx="10905066" cy="4393982"/>
          </a:xfrm>
        </p:spPr>
        <p:txBody>
          <a:bodyPr>
            <a:normAutofit/>
          </a:bodyPr>
          <a:lstStyle/>
          <a:p>
            <a:pPr marL="0" indent="0">
              <a:lnSpc>
                <a:spcPct val="90000"/>
              </a:lnSpc>
              <a:buNone/>
            </a:pPr>
            <a:r>
              <a:rPr lang="en-US" sz="2400" dirty="0" err="1"/>
              <a:t>En</a:t>
            </a:r>
            <a:r>
              <a:rPr lang="en-US" sz="2400" dirty="0"/>
              <a:t> </a:t>
            </a:r>
            <a:r>
              <a:rPr lang="en-US" sz="2400" dirty="0" err="1"/>
              <a:t>mulighet</a:t>
            </a:r>
            <a:r>
              <a:rPr lang="en-US" sz="2400" dirty="0"/>
              <a:t> </a:t>
            </a:r>
            <a:r>
              <a:rPr lang="en-US" sz="2400" dirty="0" err="1"/>
              <a:t>til</a:t>
            </a:r>
            <a:r>
              <a:rPr lang="en-US" sz="2400" dirty="0"/>
              <a:t> </a:t>
            </a:r>
            <a:r>
              <a:rPr lang="en-US" sz="2400" dirty="0" err="1"/>
              <a:t>å</a:t>
            </a:r>
            <a:r>
              <a:rPr lang="en-US" sz="2400" dirty="0"/>
              <a:t> </a:t>
            </a:r>
            <a:r>
              <a:rPr lang="en-US" sz="2400" dirty="0" err="1"/>
              <a:t>innlemme</a:t>
            </a:r>
            <a:r>
              <a:rPr lang="en-US" sz="2400" dirty="0"/>
              <a:t> den </a:t>
            </a:r>
            <a:r>
              <a:rPr lang="en-US" sz="2400" dirty="0" err="1"/>
              <a:t>forståelsen</a:t>
            </a:r>
            <a:r>
              <a:rPr lang="en-US" sz="2400" dirty="0"/>
              <a:t> av </a:t>
            </a:r>
            <a:r>
              <a:rPr lang="en-US" sz="2400" dirty="0" err="1"/>
              <a:t>psykiske</a:t>
            </a:r>
            <a:r>
              <a:rPr lang="en-US" sz="2400" dirty="0"/>
              <a:t> </a:t>
            </a:r>
            <a:r>
              <a:rPr lang="en-US" sz="2400" dirty="0" err="1"/>
              <a:t>helseproblemer</a:t>
            </a:r>
            <a:r>
              <a:rPr lang="en-US" sz="2400" dirty="0"/>
              <a:t> </a:t>
            </a:r>
            <a:r>
              <a:rPr lang="en-US" sz="2400" dirty="0" err="1"/>
              <a:t>som</a:t>
            </a:r>
            <a:r>
              <a:rPr lang="en-US" sz="2400" dirty="0"/>
              <a:t> ligger </a:t>
            </a:r>
            <a:r>
              <a:rPr lang="en-US" sz="2400" dirty="0" err="1"/>
              <a:t>i</a:t>
            </a:r>
            <a:r>
              <a:rPr lang="en-US" sz="2400" dirty="0"/>
              <a:t> CRPD i </a:t>
            </a:r>
            <a:r>
              <a:rPr lang="en-US" sz="2400" dirty="0" err="1"/>
              <a:t>psykiske</a:t>
            </a:r>
            <a:r>
              <a:rPr lang="en-US" sz="2400" dirty="0"/>
              <a:t> </a:t>
            </a:r>
            <a:r>
              <a:rPr lang="en-US" sz="2400" dirty="0" err="1"/>
              <a:t>helsetjenester</a:t>
            </a:r>
            <a:endParaRPr lang="en-US" sz="2400" dirty="0"/>
          </a:p>
          <a:p>
            <a:pPr marL="0" indent="0">
              <a:lnSpc>
                <a:spcPct val="90000"/>
              </a:lnSpc>
              <a:buNone/>
            </a:pPr>
            <a:endParaRPr lang="en-US" sz="2400" dirty="0"/>
          </a:p>
          <a:p>
            <a:pPr marL="0" indent="0">
              <a:lnSpc>
                <a:spcPct val="90000"/>
              </a:lnSpc>
              <a:buNone/>
            </a:pPr>
            <a:r>
              <a:rPr lang="en-US" sz="2400" dirty="0" err="1"/>
              <a:t>Praktisk</a:t>
            </a:r>
            <a:r>
              <a:rPr lang="en-US" sz="2400" dirty="0"/>
              <a:t> </a:t>
            </a:r>
            <a:r>
              <a:rPr lang="en-US" sz="2400" dirty="0" err="1"/>
              <a:t>veiledning</a:t>
            </a:r>
            <a:r>
              <a:rPr lang="en-US" sz="2400" dirty="0"/>
              <a:t> om </a:t>
            </a:r>
            <a:r>
              <a:rPr lang="en-US" sz="2400" dirty="0" err="1"/>
              <a:t>hvordan</a:t>
            </a:r>
            <a:r>
              <a:rPr lang="en-US" sz="2400" dirty="0"/>
              <a:t> </a:t>
            </a:r>
            <a:r>
              <a:rPr lang="en-US" sz="2400" dirty="0" err="1"/>
              <a:t>tjenester</a:t>
            </a:r>
            <a:r>
              <a:rPr lang="en-US" sz="2400" dirty="0"/>
              <a:t> </a:t>
            </a:r>
            <a:r>
              <a:rPr lang="en-US" sz="2400" dirty="0" err="1"/>
              <a:t>kan</a:t>
            </a:r>
            <a:r>
              <a:rPr lang="en-US" sz="2400" dirty="0"/>
              <a:t> </a:t>
            </a:r>
            <a:r>
              <a:rPr lang="en-US" sz="2400" dirty="0" err="1"/>
              <a:t>utvikle</a:t>
            </a:r>
            <a:r>
              <a:rPr lang="en-US" sz="2400" dirty="0"/>
              <a:t> seg </a:t>
            </a:r>
            <a:r>
              <a:rPr lang="en-US" sz="2400" dirty="0" err="1"/>
              <a:t>i</a:t>
            </a:r>
            <a:r>
              <a:rPr lang="en-US" sz="2400" dirty="0"/>
              <a:t> </a:t>
            </a:r>
            <a:r>
              <a:rPr lang="en-US" sz="2400" dirty="0" err="1"/>
              <a:t>en</a:t>
            </a:r>
            <a:r>
              <a:rPr lang="en-US" sz="2400" dirty="0"/>
              <a:t> </a:t>
            </a:r>
            <a:r>
              <a:rPr lang="en-US" sz="2400" dirty="0" err="1"/>
              <a:t>retning</a:t>
            </a:r>
            <a:r>
              <a:rPr lang="en-US" sz="2400" dirty="0"/>
              <a:t> </a:t>
            </a:r>
            <a:r>
              <a:rPr lang="en-US" sz="2400" dirty="0" err="1"/>
              <a:t>som</a:t>
            </a:r>
            <a:r>
              <a:rPr lang="en-US" sz="2400" dirty="0"/>
              <a:t> er:</a:t>
            </a:r>
          </a:p>
          <a:p>
            <a:pPr marL="0" indent="0">
              <a:lnSpc>
                <a:spcPct val="90000"/>
              </a:lnSpc>
              <a:buNone/>
            </a:pPr>
            <a:endParaRPr lang="en-US" sz="1700" dirty="0"/>
          </a:p>
          <a:p>
            <a:pPr marL="0" indent="0">
              <a:lnSpc>
                <a:spcPct val="90000"/>
              </a:lnSpc>
              <a:buNone/>
            </a:pPr>
            <a:endParaRPr lang="en-US" sz="1700" dirty="0"/>
          </a:p>
          <a:p>
            <a:pPr>
              <a:lnSpc>
                <a:spcPct val="90000"/>
              </a:lnSpc>
              <a:buFont typeface="Wingdings" charset="2"/>
              <a:buChar char="Ø"/>
            </a:pPr>
            <a:r>
              <a:rPr lang="en-US" sz="2200" dirty="0" err="1"/>
              <a:t>Fundert</a:t>
            </a:r>
            <a:r>
              <a:rPr lang="en-US" sz="2200" dirty="0"/>
              <a:t> </a:t>
            </a:r>
            <a:r>
              <a:rPr lang="en-US" sz="2200" dirty="0" err="1"/>
              <a:t>i</a:t>
            </a:r>
            <a:r>
              <a:rPr lang="en-US" sz="2200" dirty="0"/>
              <a:t> </a:t>
            </a:r>
            <a:r>
              <a:rPr lang="en-US" sz="2200" dirty="0" err="1"/>
              <a:t>rettigheter</a:t>
            </a:r>
            <a:r>
              <a:rPr lang="en-US" sz="2200" dirty="0"/>
              <a:t> </a:t>
            </a:r>
            <a:r>
              <a:rPr lang="en-US" sz="2200" dirty="0" err="1"/>
              <a:t>og</a:t>
            </a:r>
            <a:r>
              <a:rPr lang="en-US" sz="2200" dirty="0"/>
              <a:t> </a:t>
            </a:r>
            <a:r>
              <a:rPr lang="en-US" sz="2200" dirty="0" err="1"/>
              <a:t>fritt</a:t>
            </a:r>
            <a:r>
              <a:rPr lang="en-US" sz="2200" dirty="0"/>
              <a:t> </a:t>
            </a:r>
            <a:r>
              <a:rPr lang="en-US" sz="2200" dirty="0" err="1"/>
              <a:t>og</a:t>
            </a:r>
            <a:r>
              <a:rPr lang="en-US" sz="2200" dirty="0"/>
              <a:t> </a:t>
            </a:r>
            <a:r>
              <a:rPr lang="en-US" sz="2200" dirty="0" err="1"/>
              <a:t>informert</a:t>
            </a:r>
            <a:r>
              <a:rPr lang="en-US" sz="2200" dirty="0"/>
              <a:t> </a:t>
            </a:r>
            <a:r>
              <a:rPr lang="en-US" sz="2200" dirty="0" err="1"/>
              <a:t>samtykke</a:t>
            </a:r>
            <a:r>
              <a:rPr lang="en-US" sz="2200" dirty="0"/>
              <a:t> </a:t>
            </a:r>
          </a:p>
          <a:p>
            <a:pPr>
              <a:lnSpc>
                <a:spcPct val="90000"/>
              </a:lnSpc>
              <a:buFont typeface="Wingdings" charset="2"/>
              <a:buChar char="Ø"/>
            </a:pPr>
            <a:r>
              <a:rPr lang="en-US" sz="2200" dirty="0" err="1"/>
              <a:t>Rettslig</a:t>
            </a:r>
            <a:r>
              <a:rPr lang="en-US" sz="2200" dirty="0"/>
              <a:t> </a:t>
            </a:r>
            <a:r>
              <a:rPr lang="en-US" sz="2200" dirty="0" err="1"/>
              <a:t>handleevne</a:t>
            </a:r>
            <a:r>
              <a:rPr lang="en-US" sz="2200" dirty="0"/>
              <a:t> </a:t>
            </a:r>
            <a:r>
              <a:rPr lang="en-US" sz="2200" dirty="0" err="1"/>
              <a:t>på</a:t>
            </a:r>
            <a:r>
              <a:rPr lang="en-US" sz="2200" dirty="0"/>
              <a:t> </a:t>
            </a:r>
            <a:r>
              <a:rPr lang="en-US" sz="2200" dirty="0" err="1"/>
              <a:t>lik</a:t>
            </a:r>
            <a:r>
              <a:rPr lang="en-US" sz="2200" dirty="0"/>
              <a:t> </a:t>
            </a:r>
            <a:r>
              <a:rPr lang="en-US" sz="2200" dirty="0" err="1"/>
              <a:t>linje</a:t>
            </a:r>
            <a:r>
              <a:rPr lang="en-US" sz="2200" dirty="0"/>
              <a:t> med </a:t>
            </a:r>
            <a:r>
              <a:rPr lang="en-US" sz="2200" dirty="0" err="1"/>
              <a:t>andre</a:t>
            </a:r>
            <a:r>
              <a:rPr lang="en-US" sz="2200" dirty="0"/>
              <a:t> </a:t>
            </a:r>
          </a:p>
          <a:p>
            <a:pPr>
              <a:lnSpc>
                <a:spcPct val="90000"/>
              </a:lnSpc>
              <a:buFont typeface="Wingdings" charset="2"/>
              <a:buChar char="Ø"/>
            </a:pPr>
            <a:r>
              <a:rPr lang="en-US" sz="2200" dirty="0" err="1"/>
              <a:t>Deltagelse</a:t>
            </a:r>
            <a:r>
              <a:rPr lang="en-US" sz="2200" dirty="0"/>
              <a:t> </a:t>
            </a:r>
            <a:r>
              <a:rPr lang="en-US" sz="2200" dirty="0" err="1"/>
              <a:t>og</a:t>
            </a:r>
            <a:r>
              <a:rPr lang="en-US" sz="2200" dirty="0"/>
              <a:t> </a:t>
            </a:r>
            <a:r>
              <a:rPr lang="en-US" sz="2200" dirty="0" err="1"/>
              <a:t>inkludering</a:t>
            </a:r>
            <a:endParaRPr lang="en-US" sz="2200" dirty="0"/>
          </a:p>
          <a:p>
            <a:pPr>
              <a:lnSpc>
                <a:spcPct val="90000"/>
              </a:lnSpc>
              <a:buFont typeface="Wingdings" charset="2"/>
              <a:buChar char="Ø"/>
            </a:pPr>
            <a:r>
              <a:rPr lang="en-US" sz="2200" dirty="0"/>
              <a:t>Recovery </a:t>
            </a:r>
          </a:p>
          <a:p>
            <a:pPr marL="0" indent="0">
              <a:lnSpc>
                <a:spcPct val="90000"/>
              </a:lnSpc>
              <a:buNone/>
            </a:pPr>
            <a:endParaRPr lang="en-US" sz="1700" dirty="0"/>
          </a:p>
        </p:txBody>
      </p:sp>
      <p:sp>
        <p:nvSpPr>
          <p:cNvPr id="10" name="Rectangle 9">
            <a:extLst>
              <a:ext uri="{FF2B5EF4-FFF2-40B4-BE49-F238E27FC236}">
                <a16:creationId xmlns:a16="http://schemas.microsoft.com/office/drawing/2014/main" id="{2E80C965-DB6D-4F81-9E9E-B027384D0B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1052629" y="2120024"/>
            <a:ext cx="645368" cy="645368"/>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sp>
        <p:nvSpPr>
          <p:cNvPr id="12" name="Isosceles Triangle 11">
            <a:extLst>
              <a:ext uri="{FF2B5EF4-FFF2-40B4-BE49-F238E27FC236}">
                <a16:creationId xmlns:a16="http://schemas.microsoft.com/office/drawing/2014/main" id="{A580F890-B085-4E95-96AA-55AEBEC5CE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0289068" y="1343027"/>
            <a:ext cx="2532832" cy="1273032"/>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sp>
        <p:nvSpPr>
          <p:cNvPr id="14" name="Isosceles Triangle 13">
            <a:extLst>
              <a:ext uri="{FF2B5EF4-FFF2-40B4-BE49-F238E27FC236}">
                <a16:creationId xmlns:a16="http://schemas.microsoft.com/office/drawing/2014/main" id="{D3F51FEB-38FB-4F6C-9F7B-2F2AFAB654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01760" y="5103257"/>
            <a:ext cx="2017580" cy="1014060"/>
          </a:xfrm>
          <a:prstGeom prst="triangle">
            <a:avLst>
              <a:gd name="adj" fmla="val 50000"/>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1E547BA6-BAE0-43BB-A7CA-60F69CE252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427916" y="5728708"/>
            <a:ext cx="485578" cy="48557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4316393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8873D23-2DCF-4B31-A009-95721C06E8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C13EF075-D4EF-4929-ADBC-91B27DA1995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a:ea typeface="+mn-ea"/>
              <a:cs typeface="+mn-cs"/>
            </a:endParaRPr>
          </a:p>
        </p:txBody>
      </p:sp>
      <p:grpSp>
        <p:nvGrpSpPr>
          <p:cNvPr id="12" name="Group 11">
            <a:extLst>
              <a:ext uri="{FF2B5EF4-FFF2-40B4-BE49-F238E27FC236}">
                <a16:creationId xmlns:a16="http://schemas.microsoft.com/office/drawing/2014/main" id="{DAA26DFA-AAB2-4973-9C17-16D587C7B19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1863" y="508838"/>
            <a:ext cx="5217958" cy="6239661"/>
            <a:chOff x="-19221" y="251144"/>
            <a:chExt cx="5217958" cy="6239661"/>
          </a:xfrm>
        </p:grpSpPr>
        <p:sp>
          <p:nvSpPr>
            <p:cNvPr id="13" name="Freeform: Shape 12">
              <a:extLst>
                <a:ext uri="{FF2B5EF4-FFF2-40B4-BE49-F238E27FC236}">
                  <a16:creationId xmlns:a16="http://schemas.microsoft.com/office/drawing/2014/main" id="{3F407F11-7321-4BF6-8536-CCE8E34245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251144"/>
              <a:ext cx="5187198" cy="6239661"/>
            </a:xfrm>
            <a:custGeom>
              <a:avLst/>
              <a:gdLst>
                <a:gd name="connsiteX0" fmla="*/ 2011811 w 5187198"/>
                <a:gd name="connsiteY0" fmla="*/ 4 h 6239661"/>
                <a:gd name="connsiteX1" fmla="*/ 2617011 w 5187198"/>
                <a:gd name="connsiteY1" fmla="*/ 70590 h 6239661"/>
                <a:gd name="connsiteX2" fmla="*/ 2690321 w 5187198"/>
                <a:gd name="connsiteY2" fmla="*/ 88146 h 6239661"/>
                <a:gd name="connsiteX3" fmla="*/ 2726863 w 5187198"/>
                <a:gd name="connsiteY3" fmla="*/ 97127 h 6239661"/>
                <a:gd name="connsiteX4" fmla="*/ 2762951 w 5187198"/>
                <a:gd name="connsiteY4" fmla="*/ 107375 h 6239661"/>
                <a:gd name="connsiteX5" fmla="*/ 2834843 w 5187198"/>
                <a:gd name="connsiteY5" fmla="*/ 128493 h 6239661"/>
                <a:gd name="connsiteX6" fmla="*/ 2906574 w 5187198"/>
                <a:gd name="connsiteY6" fmla="*/ 151076 h 6239661"/>
                <a:gd name="connsiteX7" fmla="*/ 3049504 w 5187198"/>
                <a:gd name="connsiteY7" fmla="*/ 202124 h 6239661"/>
                <a:gd name="connsiteX8" fmla="*/ 3189518 w 5187198"/>
                <a:gd name="connsiteY8" fmla="*/ 260159 h 6239661"/>
                <a:gd name="connsiteX9" fmla="*/ 3326048 w 5187198"/>
                <a:gd name="connsiteY9" fmla="*/ 325143 h 6239661"/>
                <a:gd name="connsiteX10" fmla="*/ 3459166 w 5187198"/>
                <a:gd name="connsiteY10" fmla="*/ 395936 h 6239661"/>
                <a:gd name="connsiteX11" fmla="*/ 3588578 w 5187198"/>
                <a:gd name="connsiteY11" fmla="*/ 472343 h 6239661"/>
                <a:gd name="connsiteX12" fmla="*/ 3651864 w 5187198"/>
                <a:gd name="connsiteY12" fmla="*/ 512600 h 6239661"/>
                <a:gd name="connsiteX13" fmla="*/ 3714514 w 5187198"/>
                <a:gd name="connsiteY13" fmla="*/ 553499 h 6239661"/>
                <a:gd name="connsiteX14" fmla="*/ 4181221 w 5187198"/>
                <a:gd name="connsiteY14" fmla="*/ 922912 h 6239661"/>
                <a:gd name="connsiteX15" fmla="*/ 4582963 w 5187198"/>
                <a:gd name="connsiteY15" fmla="*/ 1358264 h 6239661"/>
                <a:gd name="connsiteX16" fmla="*/ 4670721 w 5187198"/>
                <a:gd name="connsiteY16" fmla="*/ 1477644 h 6239661"/>
                <a:gd name="connsiteX17" fmla="*/ 4752378 w 5187198"/>
                <a:gd name="connsiteY17" fmla="*/ 1601187 h 6239661"/>
                <a:gd name="connsiteX18" fmla="*/ 4772168 w 5187198"/>
                <a:gd name="connsiteY18" fmla="*/ 1632456 h 6239661"/>
                <a:gd name="connsiteX19" fmla="*/ 4782117 w 5187198"/>
                <a:gd name="connsiteY19" fmla="*/ 1648104 h 6239661"/>
                <a:gd name="connsiteX20" fmla="*/ 4791381 w 5187198"/>
                <a:gd name="connsiteY20" fmla="*/ 1664150 h 6239661"/>
                <a:gd name="connsiteX21" fmla="*/ 4828190 w 5187198"/>
                <a:gd name="connsiteY21" fmla="*/ 1728379 h 6239661"/>
                <a:gd name="connsiteX22" fmla="*/ 4864832 w 5187198"/>
                <a:gd name="connsiteY22" fmla="*/ 1792796 h 6239661"/>
                <a:gd name="connsiteX23" fmla="*/ 4899201 w 5187198"/>
                <a:gd name="connsiteY23" fmla="*/ 1858342 h 6239661"/>
                <a:gd name="connsiteX24" fmla="*/ 4933266 w 5187198"/>
                <a:gd name="connsiteY24" fmla="*/ 1924155 h 6239661"/>
                <a:gd name="connsiteX25" fmla="*/ 4964403 w 5187198"/>
                <a:gd name="connsiteY25" fmla="*/ 1991384 h 6239661"/>
                <a:gd name="connsiteX26" fmla="*/ 4995019 w 5187198"/>
                <a:gd name="connsiteY26" fmla="*/ 2058823 h 6239661"/>
                <a:gd name="connsiteX27" fmla="*/ 5021999 w 5187198"/>
                <a:gd name="connsiteY27" fmla="*/ 2127723 h 6239661"/>
                <a:gd name="connsiteX28" fmla="*/ 5048321 w 5187198"/>
                <a:gd name="connsiteY28" fmla="*/ 2196908 h 6239661"/>
                <a:gd name="connsiteX29" fmla="*/ 5070546 w 5187198"/>
                <a:gd name="connsiteY29" fmla="*/ 2267547 h 6239661"/>
                <a:gd name="connsiteX30" fmla="*/ 5092171 w 5187198"/>
                <a:gd name="connsiteY30" fmla="*/ 2338256 h 6239661"/>
                <a:gd name="connsiteX31" fmla="*/ 5110305 w 5187198"/>
                <a:gd name="connsiteY31" fmla="*/ 2409886 h 6239661"/>
                <a:gd name="connsiteX32" fmla="*/ 5186393 w 5187198"/>
                <a:gd name="connsiteY32" fmla="*/ 2992022 h 6239661"/>
                <a:gd name="connsiteX33" fmla="*/ 5149045 w 5187198"/>
                <a:gd name="connsiteY33" fmla="*/ 3571816 h 6239661"/>
                <a:gd name="connsiteX34" fmla="*/ 5126572 w 5187198"/>
                <a:gd name="connsiteY34" fmla="*/ 3714520 h 6239661"/>
                <a:gd name="connsiteX35" fmla="*/ 5099067 w 5187198"/>
                <a:gd name="connsiteY35" fmla="*/ 3856108 h 6239661"/>
                <a:gd name="connsiteX36" fmla="*/ 5095699 w 5187198"/>
                <a:gd name="connsiteY36" fmla="*/ 3873868 h 6239661"/>
                <a:gd name="connsiteX37" fmla="*/ 5091573 w 5187198"/>
                <a:gd name="connsiteY37" fmla="*/ 3891426 h 6239661"/>
                <a:gd name="connsiteX38" fmla="*/ 5083324 w 5187198"/>
                <a:gd name="connsiteY38" fmla="*/ 3926541 h 6239661"/>
                <a:gd name="connsiteX39" fmla="*/ 5067256 w 5187198"/>
                <a:gd name="connsiteY39" fmla="*/ 3996889 h 6239661"/>
                <a:gd name="connsiteX40" fmla="*/ 5059194 w 5187198"/>
                <a:gd name="connsiteY40" fmla="*/ 4032171 h 6239661"/>
                <a:gd name="connsiteX41" fmla="*/ 5049522 w 5187198"/>
                <a:gd name="connsiteY41" fmla="*/ 4067833 h 6239661"/>
                <a:gd name="connsiteX42" fmla="*/ 5040067 w 5187198"/>
                <a:gd name="connsiteY42" fmla="*/ 4103553 h 6239661"/>
                <a:gd name="connsiteX43" fmla="*/ 5028960 w 5187198"/>
                <a:gd name="connsiteY43" fmla="*/ 4138946 h 6239661"/>
                <a:gd name="connsiteX44" fmla="*/ 4917351 w 5187198"/>
                <a:gd name="connsiteY44" fmla="*/ 4417041 h 6239661"/>
                <a:gd name="connsiteX45" fmla="*/ 4756163 w 5187198"/>
                <a:gd name="connsiteY45" fmla="*/ 4676402 h 6239661"/>
                <a:gd name="connsiteX46" fmla="*/ 4322493 w 5187198"/>
                <a:gd name="connsiteY46" fmla="*/ 5105604 h 6239661"/>
                <a:gd name="connsiteX47" fmla="*/ 3840510 w 5187198"/>
                <a:gd name="connsiteY47" fmla="*/ 5429590 h 6239661"/>
                <a:gd name="connsiteX48" fmla="*/ 3606447 w 5187198"/>
                <a:gd name="connsiteY48" fmla="*/ 5572862 h 6239661"/>
                <a:gd name="connsiteX49" fmla="*/ 3488814 w 5187198"/>
                <a:gd name="connsiteY49" fmla="*/ 5647178 h 6239661"/>
                <a:gd name="connsiteX50" fmla="*/ 3365864 w 5187198"/>
                <a:gd name="connsiteY50" fmla="*/ 5722735 h 6239661"/>
                <a:gd name="connsiteX51" fmla="*/ 2839486 w 5187198"/>
                <a:gd name="connsiteY51" fmla="*/ 5999120 h 6239661"/>
                <a:gd name="connsiteX52" fmla="*/ 2242423 w 5187198"/>
                <a:gd name="connsiteY52" fmla="*/ 6192346 h 6239661"/>
                <a:gd name="connsiteX53" fmla="*/ 1589380 w 5187198"/>
                <a:gd name="connsiteY53" fmla="*/ 6230657 h 6239661"/>
                <a:gd name="connsiteX54" fmla="*/ 1548244 w 5187198"/>
                <a:gd name="connsiteY54" fmla="*/ 6226706 h 6239661"/>
                <a:gd name="connsiteX55" fmla="*/ 1507348 w 5187198"/>
                <a:gd name="connsiteY55" fmla="*/ 6221428 h 6239661"/>
                <a:gd name="connsiteX56" fmla="*/ 1466401 w 5187198"/>
                <a:gd name="connsiteY56" fmla="*/ 6215904 h 6239661"/>
                <a:gd name="connsiteX57" fmla="*/ 1425773 w 5187198"/>
                <a:gd name="connsiteY57" fmla="*/ 6209191 h 6239661"/>
                <a:gd name="connsiteX58" fmla="*/ 1344960 w 5187198"/>
                <a:gd name="connsiteY58" fmla="*/ 6193681 h 6239661"/>
                <a:gd name="connsiteX59" fmla="*/ 1265007 w 5187198"/>
                <a:gd name="connsiteY59" fmla="*/ 6175388 h 6239661"/>
                <a:gd name="connsiteX60" fmla="*/ 1225415 w 5187198"/>
                <a:gd name="connsiteY60" fmla="*/ 6165243 h 6239661"/>
                <a:gd name="connsiteX61" fmla="*/ 1186567 w 5187198"/>
                <a:gd name="connsiteY61" fmla="*/ 6154486 h 6239661"/>
                <a:gd name="connsiteX62" fmla="*/ 1111158 w 5187198"/>
                <a:gd name="connsiteY62" fmla="*/ 6130918 h 6239661"/>
                <a:gd name="connsiteX63" fmla="*/ 1035915 w 5187198"/>
                <a:gd name="connsiteY63" fmla="*/ 6107163 h 6239661"/>
                <a:gd name="connsiteX64" fmla="*/ 961579 w 5187198"/>
                <a:gd name="connsiteY64" fmla="*/ 6079594 h 6239661"/>
                <a:gd name="connsiteX65" fmla="*/ 395297 w 5187198"/>
                <a:gd name="connsiteY65" fmla="*/ 5792812 h 6239661"/>
                <a:gd name="connsiteX66" fmla="*/ 265239 w 5187198"/>
                <a:gd name="connsiteY66" fmla="*/ 5701511 h 6239661"/>
                <a:gd name="connsiteX67" fmla="*/ 233756 w 5187198"/>
                <a:gd name="connsiteY67" fmla="*/ 5677542 h 6239661"/>
                <a:gd name="connsiteX68" fmla="*/ 202800 w 5187198"/>
                <a:gd name="connsiteY68" fmla="*/ 5652902 h 6239661"/>
                <a:gd name="connsiteX69" fmla="*/ 140918 w 5187198"/>
                <a:gd name="connsiteY69" fmla="*/ 5603515 h 6239661"/>
                <a:gd name="connsiteX70" fmla="*/ 110625 w 5187198"/>
                <a:gd name="connsiteY70" fmla="*/ 5578127 h 6239661"/>
                <a:gd name="connsiteX71" fmla="*/ 95631 w 5187198"/>
                <a:gd name="connsiteY71" fmla="*/ 5565299 h 6239661"/>
                <a:gd name="connsiteX72" fmla="*/ 81966 w 5187198"/>
                <a:gd name="connsiteY72" fmla="*/ 5550973 h 6239661"/>
                <a:gd name="connsiteX73" fmla="*/ 27991 w 5187198"/>
                <a:gd name="connsiteY73" fmla="*/ 5493272 h 6239661"/>
                <a:gd name="connsiteX74" fmla="*/ 1454 w 5187198"/>
                <a:gd name="connsiteY74" fmla="*/ 5464252 h 6239661"/>
                <a:gd name="connsiteX75" fmla="*/ 0 w 5187198"/>
                <a:gd name="connsiteY75" fmla="*/ 5462518 h 6239661"/>
                <a:gd name="connsiteX76" fmla="*/ 0 w 5187198"/>
                <a:gd name="connsiteY76" fmla="*/ 4720187 h 6239661"/>
                <a:gd name="connsiteX77" fmla="*/ 109684 w 5187198"/>
                <a:gd name="connsiteY77" fmla="*/ 4836724 h 6239661"/>
                <a:gd name="connsiteX78" fmla="*/ 306959 w 5187198"/>
                <a:gd name="connsiteY78" fmla="*/ 5007200 h 6239661"/>
                <a:gd name="connsiteX79" fmla="*/ 358101 w 5187198"/>
                <a:gd name="connsiteY79" fmla="*/ 5046057 h 6239661"/>
                <a:gd name="connsiteX80" fmla="*/ 383328 w 5187198"/>
                <a:gd name="connsiteY80" fmla="*/ 5065684 h 6239661"/>
                <a:gd name="connsiteX81" fmla="*/ 409503 w 5187198"/>
                <a:gd name="connsiteY81" fmla="*/ 5083942 h 6239661"/>
                <a:gd name="connsiteX82" fmla="*/ 461889 w 5187198"/>
                <a:gd name="connsiteY82" fmla="*/ 5119888 h 6239661"/>
                <a:gd name="connsiteX83" fmla="*/ 474883 w 5187198"/>
                <a:gd name="connsiteY83" fmla="*/ 5128933 h 6239661"/>
                <a:gd name="connsiteX84" fmla="*/ 486410 w 5187198"/>
                <a:gd name="connsiteY84" fmla="*/ 5139557 h 6239661"/>
                <a:gd name="connsiteX85" fmla="*/ 510852 w 5187198"/>
                <a:gd name="connsiteY85" fmla="*/ 5159089 h 6239661"/>
                <a:gd name="connsiteX86" fmla="*/ 560653 w 5187198"/>
                <a:gd name="connsiteY86" fmla="*/ 5196893 h 6239661"/>
                <a:gd name="connsiteX87" fmla="*/ 585485 w 5187198"/>
                <a:gd name="connsiteY87" fmla="*/ 5215834 h 6239661"/>
                <a:gd name="connsiteX88" fmla="*/ 610707 w 5187198"/>
                <a:gd name="connsiteY88" fmla="*/ 5234185 h 6239661"/>
                <a:gd name="connsiteX89" fmla="*/ 714768 w 5187198"/>
                <a:gd name="connsiteY89" fmla="*/ 5303103 h 6239661"/>
                <a:gd name="connsiteX90" fmla="*/ 1166634 w 5187198"/>
                <a:gd name="connsiteY90" fmla="*/ 5513322 h 6239661"/>
                <a:gd name="connsiteX91" fmla="*/ 1225991 w 5187198"/>
                <a:gd name="connsiteY91" fmla="*/ 5533632 h 6239661"/>
                <a:gd name="connsiteX92" fmla="*/ 1286680 w 5187198"/>
                <a:gd name="connsiteY92" fmla="*/ 5550705 h 6239661"/>
                <a:gd name="connsiteX93" fmla="*/ 1347310 w 5187198"/>
                <a:gd name="connsiteY93" fmla="*/ 5567995 h 6239661"/>
                <a:gd name="connsiteX94" fmla="*/ 1377002 w 5187198"/>
                <a:gd name="connsiteY94" fmla="*/ 5575719 h 6239661"/>
                <a:gd name="connsiteX95" fmla="*/ 1406328 w 5187198"/>
                <a:gd name="connsiteY95" fmla="*/ 5582649 h 6239661"/>
                <a:gd name="connsiteX96" fmla="*/ 1465060 w 5187198"/>
                <a:gd name="connsiteY96" fmla="*/ 5594909 h 6239661"/>
                <a:gd name="connsiteX97" fmla="*/ 1523881 w 5187198"/>
                <a:gd name="connsiteY97" fmla="*/ 5605105 h 6239661"/>
                <a:gd name="connsiteX98" fmla="*/ 1553325 w 5187198"/>
                <a:gd name="connsiteY98" fmla="*/ 5609865 h 6239661"/>
                <a:gd name="connsiteX99" fmla="*/ 1582813 w 5187198"/>
                <a:gd name="connsiteY99" fmla="*/ 5613593 h 6239661"/>
                <a:gd name="connsiteX100" fmla="*/ 1612301 w 5187198"/>
                <a:gd name="connsiteY100" fmla="*/ 5617321 h 6239661"/>
                <a:gd name="connsiteX101" fmla="*/ 1641863 w 5187198"/>
                <a:gd name="connsiteY101" fmla="*/ 5619910 h 6239661"/>
                <a:gd name="connsiteX102" fmla="*/ 2117508 w 5187198"/>
                <a:gd name="connsiteY102" fmla="*/ 5595156 h 6239661"/>
                <a:gd name="connsiteX103" fmla="*/ 2597368 w 5187198"/>
                <a:gd name="connsiteY103" fmla="*/ 5447381 h 6239661"/>
                <a:gd name="connsiteX104" fmla="*/ 3082968 w 5187198"/>
                <a:gd name="connsiteY104" fmla="*/ 5223245 h 6239661"/>
                <a:gd name="connsiteX105" fmla="*/ 3334855 w 5187198"/>
                <a:gd name="connsiteY105" fmla="*/ 5097383 h 6239661"/>
                <a:gd name="connsiteX106" fmla="*/ 3599509 w 5187198"/>
                <a:gd name="connsiteY106" fmla="*/ 4976217 h 6239661"/>
                <a:gd name="connsiteX107" fmla="*/ 4112002 w 5187198"/>
                <a:gd name="connsiteY107" fmla="*/ 4766359 h 6239661"/>
                <a:gd name="connsiteX108" fmla="*/ 4348983 w 5187198"/>
                <a:gd name="connsiteY108" fmla="*/ 4649833 h 6239661"/>
                <a:gd name="connsiteX109" fmla="*/ 4560505 w 5187198"/>
                <a:gd name="connsiteY109" fmla="*/ 4501564 h 6239661"/>
                <a:gd name="connsiteX110" fmla="*/ 4731963 w 5187198"/>
                <a:gd name="connsiteY110" fmla="*/ 4309870 h 6239661"/>
                <a:gd name="connsiteX111" fmla="*/ 4852344 w 5187198"/>
                <a:gd name="connsiteY111" fmla="*/ 4078640 h 6239661"/>
                <a:gd name="connsiteX112" fmla="*/ 4863972 w 5187198"/>
                <a:gd name="connsiteY112" fmla="*/ 4047790 h 6239661"/>
                <a:gd name="connsiteX113" fmla="*/ 4874144 w 5187198"/>
                <a:gd name="connsiteY113" fmla="*/ 4016320 h 6239661"/>
                <a:gd name="connsiteX114" fmla="*/ 4884127 w 5187198"/>
                <a:gd name="connsiteY114" fmla="*/ 3984682 h 6239661"/>
                <a:gd name="connsiteX115" fmla="*/ 4892800 w 5187198"/>
                <a:gd name="connsiteY115" fmla="*/ 3951883 h 6239661"/>
                <a:gd name="connsiteX116" fmla="*/ 4909526 w 5187198"/>
                <a:gd name="connsiteY116" fmla="*/ 3886001 h 6239661"/>
                <a:gd name="connsiteX117" fmla="*/ 4917687 w 5187198"/>
                <a:gd name="connsiteY117" fmla="*/ 3852948 h 6239661"/>
                <a:gd name="connsiteX118" fmla="*/ 4921768 w 5187198"/>
                <a:gd name="connsiteY118" fmla="*/ 3836422 h 6239661"/>
                <a:gd name="connsiteX119" fmla="*/ 4924845 w 5187198"/>
                <a:gd name="connsiteY119" fmla="*/ 3819742 h 6239661"/>
                <a:gd name="connsiteX120" fmla="*/ 4948230 w 5187198"/>
                <a:gd name="connsiteY120" fmla="*/ 3685744 h 6239661"/>
                <a:gd name="connsiteX121" fmla="*/ 4962782 w 5187198"/>
                <a:gd name="connsiteY121" fmla="*/ 3550540 h 6239661"/>
                <a:gd name="connsiteX122" fmla="*/ 4939468 w 5187198"/>
                <a:gd name="connsiteY122" fmla="*/ 3010249 h 6239661"/>
                <a:gd name="connsiteX123" fmla="*/ 4816901 w 5187198"/>
                <a:gd name="connsiteY123" fmla="*/ 2488224 h 6239661"/>
                <a:gd name="connsiteX124" fmla="*/ 4797005 w 5187198"/>
                <a:gd name="connsiteY124" fmla="*/ 2424470 h 6239661"/>
                <a:gd name="connsiteX125" fmla="*/ 4774433 w 5187198"/>
                <a:gd name="connsiteY125" fmla="*/ 2361620 h 6239661"/>
                <a:gd name="connsiteX126" fmla="*/ 4752459 w 5187198"/>
                <a:gd name="connsiteY126" fmla="*/ 2298700 h 6239661"/>
                <a:gd name="connsiteX127" fmla="*/ 4728083 w 5187198"/>
                <a:gd name="connsiteY127" fmla="*/ 2236526 h 6239661"/>
                <a:gd name="connsiteX128" fmla="*/ 4704471 w 5187198"/>
                <a:gd name="connsiteY128" fmla="*/ 2174095 h 6239661"/>
                <a:gd name="connsiteX129" fmla="*/ 4678399 w 5187198"/>
                <a:gd name="connsiteY129" fmla="*/ 2112626 h 6239661"/>
                <a:gd name="connsiteX130" fmla="*/ 4652601 w 5187198"/>
                <a:gd name="connsiteY130" fmla="*/ 2050999 h 6239661"/>
                <a:gd name="connsiteX131" fmla="*/ 4624205 w 5187198"/>
                <a:gd name="connsiteY131" fmla="*/ 1990415 h 6239661"/>
                <a:gd name="connsiteX132" fmla="*/ 4595398 w 5187198"/>
                <a:gd name="connsiteY132" fmla="*/ 1930069 h 6239661"/>
                <a:gd name="connsiteX133" fmla="*/ 4563827 w 5187198"/>
                <a:gd name="connsiteY133" fmla="*/ 1870952 h 6239661"/>
                <a:gd name="connsiteX134" fmla="*/ 4531433 w 5187198"/>
                <a:gd name="connsiteY134" fmla="*/ 1812311 h 6239661"/>
                <a:gd name="connsiteX135" fmla="*/ 4523315 w 5187198"/>
                <a:gd name="connsiteY135" fmla="*/ 1797616 h 6239661"/>
                <a:gd name="connsiteX136" fmla="*/ 4514482 w 5187198"/>
                <a:gd name="connsiteY136" fmla="*/ 1783425 h 6239661"/>
                <a:gd name="connsiteX137" fmla="*/ 4496845 w 5187198"/>
                <a:gd name="connsiteY137" fmla="*/ 1754936 h 6239661"/>
                <a:gd name="connsiteX138" fmla="*/ 4461463 w 5187198"/>
                <a:gd name="connsiteY138" fmla="*/ 1697929 h 6239661"/>
                <a:gd name="connsiteX139" fmla="*/ 4452660 w 5187198"/>
                <a:gd name="connsiteY139" fmla="*/ 1683629 h 6239661"/>
                <a:gd name="connsiteX140" fmla="*/ 4443141 w 5187198"/>
                <a:gd name="connsiteY140" fmla="*/ 1669834 h 6239661"/>
                <a:gd name="connsiteX141" fmla="*/ 4424241 w 5187198"/>
                <a:gd name="connsiteY141" fmla="*/ 1642166 h 6239661"/>
                <a:gd name="connsiteX142" fmla="*/ 4346886 w 5187198"/>
                <a:gd name="connsiteY142" fmla="*/ 1532412 h 6239661"/>
                <a:gd name="connsiteX143" fmla="*/ 3985497 w 5187198"/>
                <a:gd name="connsiteY143" fmla="*/ 1134649 h 6239661"/>
                <a:gd name="connsiteX144" fmla="*/ 3545665 w 5187198"/>
                <a:gd name="connsiteY144" fmla="*/ 825877 h 6239661"/>
                <a:gd name="connsiteX145" fmla="*/ 3486190 w 5187198"/>
                <a:gd name="connsiteY145" fmla="*/ 794756 h 6239661"/>
                <a:gd name="connsiteX146" fmla="*/ 3426182 w 5187198"/>
                <a:gd name="connsiteY146" fmla="*/ 764765 h 6239661"/>
                <a:gd name="connsiteX147" fmla="*/ 3365044 w 5187198"/>
                <a:gd name="connsiteY147" fmla="*/ 737255 h 6239661"/>
                <a:gd name="connsiteX148" fmla="*/ 3334529 w 5187198"/>
                <a:gd name="connsiteY148" fmla="*/ 723514 h 6239661"/>
                <a:gd name="connsiteX149" fmla="*/ 3303733 w 5187198"/>
                <a:gd name="connsiteY149" fmla="*/ 710395 h 6239661"/>
                <a:gd name="connsiteX150" fmla="*/ 3179033 w 5187198"/>
                <a:gd name="connsiteY150" fmla="*/ 662259 h 6239661"/>
                <a:gd name="connsiteX151" fmla="*/ 3052408 w 5187198"/>
                <a:gd name="connsiteY151" fmla="*/ 620447 h 6239661"/>
                <a:gd name="connsiteX152" fmla="*/ 2924325 w 5187198"/>
                <a:gd name="connsiteY152" fmla="*/ 584505 h 6239661"/>
                <a:gd name="connsiteX153" fmla="*/ 2859667 w 5187198"/>
                <a:gd name="connsiteY153" fmla="*/ 569266 h 6239661"/>
                <a:gd name="connsiteX154" fmla="*/ 2795226 w 5187198"/>
                <a:gd name="connsiteY154" fmla="*/ 554085 h 6239661"/>
                <a:gd name="connsiteX155" fmla="*/ 2729702 w 5187198"/>
                <a:gd name="connsiteY155" fmla="*/ 540354 h 6239661"/>
                <a:gd name="connsiteX156" fmla="*/ 2663758 w 5187198"/>
                <a:gd name="connsiteY156" fmla="*/ 527322 h 6239661"/>
                <a:gd name="connsiteX157" fmla="*/ 2630927 w 5187198"/>
                <a:gd name="connsiteY157" fmla="*/ 520495 h 6239661"/>
                <a:gd name="connsiteX158" fmla="*/ 2597965 w 5187198"/>
                <a:gd name="connsiteY158" fmla="*/ 515024 h 6239661"/>
                <a:gd name="connsiteX159" fmla="*/ 2532205 w 5187198"/>
                <a:gd name="connsiteY159" fmla="*/ 503895 h 6239661"/>
                <a:gd name="connsiteX160" fmla="*/ 2010064 w 5187198"/>
                <a:gd name="connsiteY160" fmla="*/ 452552 h 6239661"/>
                <a:gd name="connsiteX161" fmla="*/ 1494552 w 5187198"/>
                <a:gd name="connsiteY161" fmla="*/ 485055 h 6239661"/>
                <a:gd name="connsiteX162" fmla="*/ 1366896 w 5187198"/>
                <a:gd name="connsiteY162" fmla="*/ 509389 h 6239661"/>
                <a:gd name="connsiteX163" fmla="*/ 1240175 w 5187198"/>
                <a:gd name="connsiteY163" fmla="*/ 541045 h 6239661"/>
                <a:gd name="connsiteX164" fmla="*/ 1177438 w 5187198"/>
                <a:gd name="connsiteY164" fmla="*/ 560170 h 6239661"/>
                <a:gd name="connsiteX165" fmla="*/ 1145987 w 5187198"/>
                <a:gd name="connsiteY165" fmla="*/ 569826 h 6239661"/>
                <a:gd name="connsiteX166" fmla="*/ 1130315 w 5187198"/>
                <a:gd name="connsiteY166" fmla="*/ 574669 h 6239661"/>
                <a:gd name="connsiteX167" fmla="*/ 1114873 w 5187198"/>
                <a:gd name="connsiteY167" fmla="*/ 580384 h 6239661"/>
                <a:gd name="connsiteX168" fmla="*/ 1052839 w 5187198"/>
                <a:gd name="connsiteY168" fmla="*/ 602943 h 6239661"/>
                <a:gd name="connsiteX169" fmla="*/ 991135 w 5187198"/>
                <a:gd name="connsiteY169" fmla="*/ 626866 h 6239661"/>
                <a:gd name="connsiteX170" fmla="*/ 930179 w 5187198"/>
                <a:gd name="connsiteY170" fmla="*/ 653191 h 6239661"/>
                <a:gd name="connsiteX171" fmla="*/ 869768 w 5187198"/>
                <a:gd name="connsiteY171" fmla="*/ 680937 h 6239661"/>
                <a:gd name="connsiteX172" fmla="*/ 810085 w 5187198"/>
                <a:gd name="connsiteY172" fmla="*/ 710734 h 6239661"/>
                <a:gd name="connsiteX173" fmla="*/ 751220 w 5187198"/>
                <a:gd name="connsiteY173" fmla="*/ 741794 h 6239661"/>
                <a:gd name="connsiteX174" fmla="*/ 532669 w 5187198"/>
                <a:gd name="connsiteY174" fmla="*/ 881688 h 6239661"/>
                <a:gd name="connsiteX175" fmla="*/ 354185 w 5187198"/>
                <a:gd name="connsiteY175" fmla="*/ 1050286 h 6239661"/>
                <a:gd name="connsiteX176" fmla="*/ 315980 w 5187198"/>
                <a:gd name="connsiteY176" fmla="*/ 1098125 h 6239661"/>
                <a:gd name="connsiteX177" fmla="*/ 280345 w 5187198"/>
                <a:gd name="connsiteY177" fmla="*/ 1149782 h 6239661"/>
                <a:gd name="connsiteX178" fmla="*/ 245890 w 5187198"/>
                <a:gd name="connsiteY178" fmla="*/ 1203959 h 6239661"/>
                <a:gd name="connsiteX179" fmla="*/ 212162 w 5187198"/>
                <a:gd name="connsiteY179" fmla="*/ 1260184 h 6239661"/>
                <a:gd name="connsiteX180" fmla="*/ 80716 w 5187198"/>
                <a:gd name="connsiteY180" fmla="*/ 1502476 h 6239661"/>
                <a:gd name="connsiteX181" fmla="*/ 0 w 5187198"/>
                <a:gd name="connsiteY181" fmla="*/ 1648841 h 6239661"/>
                <a:gd name="connsiteX182" fmla="*/ 0 w 5187198"/>
                <a:gd name="connsiteY182" fmla="*/ 954863 h 6239661"/>
                <a:gd name="connsiteX183" fmla="*/ 43491 w 5187198"/>
                <a:gd name="connsiteY183" fmla="*/ 895513 h 6239661"/>
                <a:gd name="connsiteX184" fmla="*/ 93923 w 5187198"/>
                <a:gd name="connsiteY184" fmla="*/ 834489 h 6239661"/>
                <a:gd name="connsiteX185" fmla="*/ 323465 w 5187198"/>
                <a:gd name="connsiteY185" fmla="*/ 617671 h 6239661"/>
                <a:gd name="connsiteX186" fmla="*/ 574777 w 5187198"/>
                <a:gd name="connsiteY186" fmla="*/ 446794 h 6239661"/>
                <a:gd name="connsiteX187" fmla="*/ 638943 w 5187198"/>
                <a:gd name="connsiteY187" fmla="*/ 408925 h 6239661"/>
                <a:gd name="connsiteX188" fmla="*/ 703505 w 5187198"/>
                <a:gd name="connsiteY188" fmla="*/ 371742 h 6239661"/>
                <a:gd name="connsiteX189" fmla="*/ 769262 w 5187198"/>
                <a:gd name="connsiteY189" fmla="*/ 336154 h 6239661"/>
                <a:gd name="connsiteX190" fmla="*/ 835552 w 5187198"/>
                <a:gd name="connsiteY190" fmla="*/ 301173 h 6239661"/>
                <a:gd name="connsiteX191" fmla="*/ 902979 w 5187198"/>
                <a:gd name="connsiteY191" fmla="*/ 268004 h 6239661"/>
                <a:gd name="connsiteX192" fmla="*/ 971127 w 5187198"/>
                <a:gd name="connsiteY192" fmla="*/ 235607 h 6239661"/>
                <a:gd name="connsiteX193" fmla="*/ 988238 w 5187198"/>
                <a:gd name="connsiteY193" fmla="*/ 227556 h 6239661"/>
                <a:gd name="connsiteX194" fmla="*/ 1005744 w 5187198"/>
                <a:gd name="connsiteY194" fmla="*/ 220191 h 6239661"/>
                <a:gd name="connsiteX195" fmla="*/ 1040729 w 5187198"/>
                <a:gd name="connsiteY195" fmla="*/ 205569 h 6239661"/>
                <a:gd name="connsiteX196" fmla="*/ 1110835 w 5187198"/>
                <a:gd name="connsiteY196" fmla="*/ 176248 h 6239661"/>
                <a:gd name="connsiteX197" fmla="*/ 1254256 w 5187198"/>
                <a:gd name="connsiteY197" fmla="*/ 123796 h 6239661"/>
                <a:gd name="connsiteX198" fmla="*/ 1401310 w 5187198"/>
                <a:gd name="connsiteY198" fmla="*/ 79852 h 6239661"/>
                <a:gd name="connsiteX199" fmla="*/ 2011811 w 5187198"/>
                <a:gd name="connsiteY199" fmla="*/ 4 h 623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5187198" h="6239661">
                  <a:moveTo>
                    <a:pt x="2011811" y="4"/>
                  </a:moveTo>
                  <a:cubicBezTo>
                    <a:pt x="2217306" y="120"/>
                    <a:pt x="2420903" y="25925"/>
                    <a:pt x="2617011" y="70590"/>
                  </a:cubicBezTo>
                  <a:lnTo>
                    <a:pt x="2690321" y="88146"/>
                  </a:lnTo>
                  <a:lnTo>
                    <a:pt x="2726863" y="97127"/>
                  </a:lnTo>
                  <a:lnTo>
                    <a:pt x="2762951" y="107375"/>
                  </a:lnTo>
                  <a:lnTo>
                    <a:pt x="2834843" y="128493"/>
                  </a:lnTo>
                  <a:cubicBezTo>
                    <a:pt x="2858788" y="135605"/>
                    <a:pt x="2882632" y="142226"/>
                    <a:pt x="2906574" y="151076"/>
                  </a:cubicBezTo>
                  <a:cubicBezTo>
                    <a:pt x="2954475" y="167852"/>
                    <a:pt x="3002363" y="183813"/>
                    <a:pt x="3049504" y="202124"/>
                  </a:cubicBezTo>
                  <a:lnTo>
                    <a:pt x="3189518" y="260159"/>
                  </a:lnTo>
                  <a:lnTo>
                    <a:pt x="3326048" y="325143"/>
                  </a:lnTo>
                  <a:cubicBezTo>
                    <a:pt x="3370687" y="348464"/>
                    <a:pt x="3414908" y="372485"/>
                    <a:pt x="3459166" y="395936"/>
                  </a:cubicBezTo>
                  <a:cubicBezTo>
                    <a:pt x="3502947" y="420302"/>
                    <a:pt x="3545491" y="447118"/>
                    <a:pt x="3588578" y="472343"/>
                  </a:cubicBezTo>
                  <a:cubicBezTo>
                    <a:pt x="3610346" y="484551"/>
                    <a:pt x="3630797" y="499072"/>
                    <a:pt x="3651864" y="512600"/>
                  </a:cubicBezTo>
                  <a:lnTo>
                    <a:pt x="3714514" y="553499"/>
                  </a:lnTo>
                  <a:cubicBezTo>
                    <a:pt x="3880005" y="664844"/>
                    <a:pt x="4036083" y="788388"/>
                    <a:pt x="4181221" y="922912"/>
                  </a:cubicBezTo>
                  <a:cubicBezTo>
                    <a:pt x="4326221" y="1057515"/>
                    <a:pt x="4461955" y="1202038"/>
                    <a:pt x="4582963" y="1358264"/>
                  </a:cubicBezTo>
                  <a:cubicBezTo>
                    <a:pt x="4614206" y="1396543"/>
                    <a:pt x="4642091" y="1437400"/>
                    <a:pt x="4670721" y="1477644"/>
                  </a:cubicBezTo>
                  <a:cubicBezTo>
                    <a:pt x="4700172" y="1517414"/>
                    <a:pt x="4725864" y="1559538"/>
                    <a:pt x="4752378" y="1601187"/>
                  </a:cubicBezTo>
                  <a:lnTo>
                    <a:pt x="4772168" y="1632456"/>
                  </a:lnTo>
                  <a:lnTo>
                    <a:pt x="4782117" y="1648104"/>
                  </a:lnTo>
                  <a:lnTo>
                    <a:pt x="4791381" y="1664150"/>
                  </a:lnTo>
                  <a:lnTo>
                    <a:pt x="4828190" y="1728379"/>
                  </a:lnTo>
                  <a:cubicBezTo>
                    <a:pt x="4840266" y="1749930"/>
                    <a:pt x="4853470" y="1770740"/>
                    <a:pt x="4864832" y="1792796"/>
                  </a:cubicBezTo>
                  <a:lnTo>
                    <a:pt x="4899201" y="1858342"/>
                  </a:lnTo>
                  <a:cubicBezTo>
                    <a:pt x="4910484" y="1880260"/>
                    <a:pt x="4922532" y="1901920"/>
                    <a:pt x="4933266" y="1924155"/>
                  </a:cubicBezTo>
                  <a:lnTo>
                    <a:pt x="4964403" y="1991384"/>
                  </a:lnTo>
                  <a:cubicBezTo>
                    <a:pt x="4974618" y="2013829"/>
                    <a:pt x="4985323" y="2036171"/>
                    <a:pt x="4995019" y="2058823"/>
                  </a:cubicBezTo>
                  <a:lnTo>
                    <a:pt x="5021999" y="2127723"/>
                  </a:lnTo>
                  <a:lnTo>
                    <a:pt x="5048321" y="2196908"/>
                  </a:lnTo>
                  <a:lnTo>
                    <a:pt x="5070546" y="2267547"/>
                  </a:lnTo>
                  <a:cubicBezTo>
                    <a:pt x="5078054" y="2291004"/>
                    <a:pt x="5085044" y="2314670"/>
                    <a:pt x="5092171" y="2338256"/>
                  </a:cubicBezTo>
                  <a:cubicBezTo>
                    <a:pt x="5098670" y="2362023"/>
                    <a:pt x="5104296" y="2386019"/>
                    <a:pt x="5110305" y="2409886"/>
                  </a:cubicBezTo>
                  <a:cubicBezTo>
                    <a:pt x="5158097" y="2600976"/>
                    <a:pt x="5182068" y="2797044"/>
                    <a:pt x="5186393" y="2992022"/>
                  </a:cubicBezTo>
                  <a:cubicBezTo>
                    <a:pt x="5191013" y="3187195"/>
                    <a:pt x="5175397" y="3380886"/>
                    <a:pt x="5149045" y="3571816"/>
                  </a:cubicBezTo>
                  <a:cubicBezTo>
                    <a:pt x="5141154" y="3619431"/>
                    <a:pt x="5133539" y="3666889"/>
                    <a:pt x="5126572" y="3714520"/>
                  </a:cubicBezTo>
                  <a:cubicBezTo>
                    <a:pt x="5117276" y="3761759"/>
                    <a:pt x="5107793" y="3808831"/>
                    <a:pt x="5099067" y="3856108"/>
                  </a:cubicBezTo>
                  <a:lnTo>
                    <a:pt x="5095699" y="3873868"/>
                  </a:lnTo>
                  <a:lnTo>
                    <a:pt x="5091573" y="3891426"/>
                  </a:lnTo>
                  <a:lnTo>
                    <a:pt x="5083324" y="3926541"/>
                  </a:lnTo>
                  <a:lnTo>
                    <a:pt x="5067256" y="3996889"/>
                  </a:lnTo>
                  <a:cubicBezTo>
                    <a:pt x="5064451" y="4008657"/>
                    <a:pt x="5062244" y="4020353"/>
                    <a:pt x="5059194" y="4032171"/>
                  </a:cubicBezTo>
                  <a:lnTo>
                    <a:pt x="5049522" y="4067833"/>
                  </a:lnTo>
                  <a:lnTo>
                    <a:pt x="5040067" y="4103553"/>
                  </a:lnTo>
                  <a:cubicBezTo>
                    <a:pt x="5036554" y="4115363"/>
                    <a:pt x="5032689" y="4127194"/>
                    <a:pt x="5028960" y="4138946"/>
                  </a:cubicBezTo>
                  <a:cubicBezTo>
                    <a:pt x="4999693" y="4233462"/>
                    <a:pt x="4962869" y="4326764"/>
                    <a:pt x="4917351" y="4417041"/>
                  </a:cubicBezTo>
                  <a:cubicBezTo>
                    <a:pt x="4871860" y="4507209"/>
                    <a:pt x="4817597" y="4594215"/>
                    <a:pt x="4756163" y="4676402"/>
                  </a:cubicBezTo>
                  <a:cubicBezTo>
                    <a:pt x="4632803" y="4840875"/>
                    <a:pt x="4480597" y="4982783"/>
                    <a:pt x="4322493" y="5105604"/>
                  </a:cubicBezTo>
                  <a:cubicBezTo>
                    <a:pt x="4163928" y="5228420"/>
                    <a:pt x="3999564" y="5332640"/>
                    <a:pt x="3840510" y="5429590"/>
                  </a:cubicBezTo>
                  <a:cubicBezTo>
                    <a:pt x="3760954" y="5478172"/>
                    <a:pt x="3682353" y="5524924"/>
                    <a:pt x="3606447" y="5572862"/>
                  </a:cubicBezTo>
                  <a:lnTo>
                    <a:pt x="3488814" y="5647178"/>
                  </a:lnTo>
                  <a:cubicBezTo>
                    <a:pt x="3448270" y="5672597"/>
                    <a:pt x="3407323" y="5697792"/>
                    <a:pt x="3365864" y="5722735"/>
                  </a:cubicBezTo>
                  <a:cubicBezTo>
                    <a:pt x="3200163" y="5822424"/>
                    <a:pt x="3026125" y="5917328"/>
                    <a:pt x="2839486" y="5999120"/>
                  </a:cubicBezTo>
                  <a:cubicBezTo>
                    <a:pt x="2653201" y="6080891"/>
                    <a:pt x="2453560" y="6149344"/>
                    <a:pt x="2242423" y="6192346"/>
                  </a:cubicBezTo>
                  <a:cubicBezTo>
                    <a:pt x="2031719" y="6235463"/>
                    <a:pt x="1808952" y="6251353"/>
                    <a:pt x="1589380" y="6230657"/>
                  </a:cubicBezTo>
                  <a:lnTo>
                    <a:pt x="1548244" y="6226706"/>
                  </a:lnTo>
                  <a:cubicBezTo>
                    <a:pt x="1534528" y="6225117"/>
                    <a:pt x="1520898" y="6223203"/>
                    <a:pt x="1507348" y="6221428"/>
                  </a:cubicBezTo>
                  <a:lnTo>
                    <a:pt x="1466401" y="6215904"/>
                  </a:lnTo>
                  <a:cubicBezTo>
                    <a:pt x="1452772" y="6213991"/>
                    <a:pt x="1439316" y="6211428"/>
                    <a:pt x="1425773" y="6209191"/>
                  </a:cubicBezTo>
                  <a:cubicBezTo>
                    <a:pt x="1398775" y="6204391"/>
                    <a:pt x="1371610" y="6199779"/>
                    <a:pt x="1344960" y="6193681"/>
                  </a:cubicBezTo>
                  <a:cubicBezTo>
                    <a:pt x="1318251" y="6187799"/>
                    <a:pt x="1291260" y="6182538"/>
                    <a:pt x="1265007" y="6175388"/>
                  </a:cubicBezTo>
                  <a:lnTo>
                    <a:pt x="1225415" y="6165243"/>
                  </a:lnTo>
                  <a:cubicBezTo>
                    <a:pt x="1212163" y="6161924"/>
                    <a:pt x="1198939" y="6158496"/>
                    <a:pt x="1186567" y="6154486"/>
                  </a:cubicBezTo>
                  <a:lnTo>
                    <a:pt x="1111158" y="6130918"/>
                  </a:lnTo>
                  <a:lnTo>
                    <a:pt x="1035915" y="6107163"/>
                  </a:lnTo>
                  <a:cubicBezTo>
                    <a:pt x="1010846" y="6099055"/>
                    <a:pt x="986357" y="6088784"/>
                    <a:pt x="961579" y="6079594"/>
                  </a:cubicBezTo>
                  <a:cubicBezTo>
                    <a:pt x="763709" y="6005594"/>
                    <a:pt x="572401" y="5909703"/>
                    <a:pt x="395297" y="5792812"/>
                  </a:cubicBezTo>
                  <a:lnTo>
                    <a:pt x="265239" y="5701511"/>
                  </a:lnTo>
                  <a:cubicBezTo>
                    <a:pt x="254227" y="5694155"/>
                    <a:pt x="244103" y="5685646"/>
                    <a:pt x="233756" y="5677542"/>
                  </a:cubicBezTo>
                  <a:lnTo>
                    <a:pt x="202800" y="5652902"/>
                  </a:lnTo>
                  <a:lnTo>
                    <a:pt x="140918" y="5603515"/>
                  </a:lnTo>
                  <a:cubicBezTo>
                    <a:pt x="130598" y="5595302"/>
                    <a:pt x="120280" y="5587089"/>
                    <a:pt x="110625" y="5578127"/>
                  </a:cubicBezTo>
                  <a:cubicBezTo>
                    <a:pt x="105647" y="5573779"/>
                    <a:pt x="100444" y="5569834"/>
                    <a:pt x="95631" y="5565299"/>
                  </a:cubicBezTo>
                  <a:cubicBezTo>
                    <a:pt x="90955" y="5560684"/>
                    <a:pt x="86505" y="5555666"/>
                    <a:pt x="81966" y="5550973"/>
                  </a:cubicBezTo>
                  <a:lnTo>
                    <a:pt x="27991" y="5493272"/>
                  </a:lnTo>
                  <a:cubicBezTo>
                    <a:pt x="19109" y="5483589"/>
                    <a:pt x="9758" y="5474359"/>
                    <a:pt x="1454" y="5464252"/>
                  </a:cubicBezTo>
                  <a:lnTo>
                    <a:pt x="0" y="5462518"/>
                  </a:lnTo>
                  <a:lnTo>
                    <a:pt x="0" y="4720187"/>
                  </a:lnTo>
                  <a:lnTo>
                    <a:pt x="109684" y="4836724"/>
                  </a:lnTo>
                  <a:cubicBezTo>
                    <a:pt x="173316" y="4897375"/>
                    <a:pt x="239447" y="4954160"/>
                    <a:pt x="306959" y="5007200"/>
                  </a:cubicBezTo>
                  <a:lnTo>
                    <a:pt x="358101" y="5046057"/>
                  </a:lnTo>
                  <a:lnTo>
                    <a:pt x="383328" y="5065684"/>
                  </a:lnTo>
                  <a:cubicBezTo>
                    <a:pt x="391637" y="5072316"/>
                    <a:pt x="400805" y="5077902"/>
                    <a:pt x="409503" y="5083942"/>
                  </a:cubicBezTo>
                  <a:lnTo>
                    <a:pt x="461889" y="5119888"/>
                  </a:lnTo>
                  <a:cubicBezTo>
                    <a:pt x="466184" y="5122893"/>
                    <a:pt x="470616" y="5125820"/>
                    <a:pt x="474883" y="5128933"/>
                  </a:cubicBezTo>
                  <a:cubicBezTo>
                    <a:pt x="478982" y="5132235"/>
                    <a:pt x="482476" y="5136069"/>
                    <a:pt x="486410" y="5139557"/>
                  </a:cubicBezTo>
                  <a:cubicBezTo>
                    <a:pt x="494140" y="5146613"/>
                    <a:pt x="502565" y="5152812"/>
                    <a:pt x="510852" y="5159089"/>
                  </a:cubicBezTo>
                  <a:lnTo>
                    <a:pt x="560653" y="5196893"/>
                  </a:lnTo>
                  <a:lnTo>
                    <a:pt x="585485" y="5215834"/>
                  </a:lnTo>
                  <a:cubicBezTo>
                    <a:pt x="593773" y="5222111"/>
                    <a:pt x="601864" y="5228685"/>
                    <a:pt x="610707" y="5234185"/>
                  </a:cubicBezTo>
                  <a:lnTo>
                    <a:pt x="714768" y="5303103"/>
                  </a:lnTo>
                  <a:cubicBezTo>
                    <a:pt x="856162" y="5390603"/>
                    <a:pt x="1008099" y="5459947"/>
                    <a:pt x="1166634" y="5513322"/>
                  </a:cubicBezTo>
                  <a:cubicBezTo>
                    <a:pt x="1186540" y="5519932"/>
                    <a:pt x="1205774" y="5527751"/>
                    <a:pt x="1225991" y="5533632"/>
                  </a:cubicBezTo>
                  <a:lnTo>
                    <a:pt x="1286680" y="5550705"/>
                  </a:lnTo>
                  <a:lnTo>
                    <a:pt x="1347310" y="5567995"/>
                  </a:lnTo>
                  <a:cubicBezTo>
                    <a:pt x="1357469" y="5571180"/>
                    <a:pt x="1367261" y="5573572"/>
                    <a:pt x="1377002" y="5575719"/>
                  </a:cubicBezTo>
                  <a:lnTo>
                    <a:pt x="1406328" y="5582649"/>
                  </a:lnTo>
                  <a:cubicBezTo>
                    <a:pt x="1425825" y="5587757"/>
                    <a:pt x="1445490" y="5590939"/>
                    <a:pt x="1465060" y="5594909"/>
                  </a:cubicBezTo>
                  <a:cubicBezTo>
                    <a:pt x="1484652" y="5599231"/>
                    <a:pt x="1504324" y="5601952"/>
                    <a:pt x="1523881" y="5605105"/>
                  </a:cubicBezTo>
                  <a:cubicBezTo>
                    <a:pt x="1533660" y="5606682"/>
                    <a:pt x="1543460" y="5608613"/>
                    <a:pt x="1553325" y="5609865"/>
                  </a:cubicBezTo>
                  <a:lnTo>
                    <a:pt x="1582813" y="5613593"/>
                  </a:lnTo>
                  <a:lnTo>
                    <a:pt x="1612301" y="5617321"/>
                  </a:lnTo>
                  <a:lnTo>
                    <a:pt x="1641863" y="5619910"/>
                  </a:lnTo>
                  <a:cubicBezTo>
                    <a:pt x="1799348" y="5633940"/>
                    <a:pt x="1957913" y="5625770"/>
                    <a:pt x="2117508" y="5595156"/>
                  </a:cubicBezTo>
                  <a:cubicBezTo>
                    <a:pt x="2277124" y="5564895"/>
                    <a:pt x="2437004" y="5512449"/>
                    <a:pt x="2597368" y="5447381"/>
                  </a:cubicBezTo>
                  <a:cubicBezTo>
                    <a:pt x="2757791" y="5382096"/>
                    <a:pt x="2918855" y="5304464"/>
                    <a:pt x="3082968" y="5223245"/>
                  </a:cubicBezTo>
                  <a:lnTo>
                    <a:pt x="3334855" y="5097383"/>
                  </a:lnTo>
                  <a:cubicBezTo>
                    <a:pt x="3423528" y="5054142"/>
                    <a:pt x="3511773" y="5013798"/>
                    <a:pt x="3599509" y="4976217"/>
                  </a:cubicBezTo>
                  <a:cubicBezTo>
                    <a:pt x="3774960" y="4900701"/>
                    <a:pt x="3948276" y="4837481"/>
                    <a:pt x="4112002" y="4766359"/>
                  </a:cubicBezTo>
                  <a:cubicBezTo>
                    <a:pt x="4193972" y="4730827"/>
                    <a:pt x="4273429" y="4692997"/>
                    <a:pt x="4348983" y="4649833"/>
                  </a:cubicBezTo>
                  <a:cubicBezTo>
                    <a:pt x="4424508" y="4606778"/>
                    <a:pt x="4496050" y="4558250"/>
                    <a:pt x="4560505" y="4501564"/>
                  </a:cubicBezTo>
                  <a:cubicBezTo>
                    <a:pt x="4625198" y="4445289"/>
                    <a:pt x="4682991" y="4381021"/>
                    <a:pt x="4731963" y="4309870"/>
                  </a:cubicBezTo>
                  <a:cubicBezTo>
                    <a:pt x="4781043" y="4238747"/>
                    <a:pt x="4821275" y="4160848"/>
                    <a:pt x="4852344" y="4078640"/>
                  </a:cubicBezTo>
                  <a:lnTo>
                    <a:pt x="4863972" y="4047790"/>
                  </a:lnTo>
                  <a:lnTo>
                    <a:pt x="4874144" y="4016320"/>
                  </a:lnTo>
                  <a:lnTo>
                    <a:pt x="4884127" y="3984682"/>
                  </a:lnTo>
                  <a:cubicBezTo>
                    <a:pt x="4887242" y="3973925"/>
                    <a:pt x="4889981" y="3962835"/>
                    <a:pt x="4892800" y="3951883"/>
                  </a:cubicBezTo>
                  <a:lnTo>
                    <a:pt x="4909526" y="3886001"/>
                  </a:lnTo>
                  <a:lnTo>
                    <a:pt x="4917687" y="3852948"/>
                  </a:lnTo>
                  <a:lnTo>
                    <a:pt x="4921768" y="3836422"/>
                  </a:lnTo>
                  <a:lnTo>
                    <a:pt x="4924845" y="3819742"/>
                  </a:lnTo>
                  <a:cubicBezTo>
                    <a:pt x="4933092" y="3775120"/>
                    <a:pt x="4941231" y="3730469"/>
                    <a:pt x="4948230" y="3685744"/>
                  </a:cubicBezTo>
                  <a:cubicBezTo>
                    <a:pt x="4953579" y="3640694"/>
                    <a:pt x="4958249" y="3595577"/>
                    <a:pt x="4962782" y="3550540"/>
                  </a:cubicBezTo>
                  <a:cubicBezTo>
                    <a:pt x="4976580" y="3369692"/>
                    <a:pt x="4965812" y="3187942"/>
                    <a:pt x="4939468" y="3010249"/>
                  </a:cubicBezTo>
                  <a:cubicBezTo>
                    <a:pt x="4912965" y="2832281"/>
                    <a:pt x="4870237" y="2658196"/>
                    <a:pt x="4816901" y="2488224"/>
                  </a:cubicBezTo>
                  <a:cubicBezTo>
                    <a:pt x="4810197" y="2466954"/>
                    <a:pt x="4803984" y="2445582"/>
                    <a:pt x="4797005" y="2424470"/>
                  </a:cubicBezTo>
                  <a:cubicBezTo>
                    <a:pt x="4789399" y="2403537"/>
                    <a:pt x="4781686" y="2382574"/>
                    <a:pt x="4774433" y="2361620"/>
                  </a:cubicBezTo>
                  <a:lnTo>
                    <a:pt x="4752459" y="2298700"/>
                  </a:lnTo>
                  <a:lnTo>
                    <a:pt x="4728083" y="2236526"/>
                  </a:lnTo>
                  <a:cubicBezTo>
                    <a:pt x="4719957" y="2215802"/>
                    <a:pt x="4712352" y="2194869"/>
                    <a:pt x="4704471" y="2174095"/>
                  </a:cubicBezTo>
                  <a:lnTo>
                    <a:pt x="4678399" y="2112626"/>
                  </a:lnTo>
                  <a:lnTo>
                    <a:pt x="4652601" y="2050999"/>
                  </a:lnTo>
                  <a:cubicBezTo>
                    <a:pt x="4643711" y="2030533"/>
                    <a:pt x="4633616" y="2010672"/>
                    <a:pt x="4624205" y="1990415"/>
                  </a:cubicBezTo>
                  <a:lnTo>
                    <a:pt x="4595398" y="1930069"/>
                  </a:lnTo>
                  <a:cubicBezTo>
                    <a:pt x="4585714" y="1909969"/>
                    <a:pt x="4574413" y="1890713"/>
                    <a:pt x="4563827" y="1870952"/>
                  </a:cubicBezTo>
                  <a:lnTo>
                    <a:pt x="4531433" y="1812311"/>
                  </a:lnTo>
                  <a:lnTo>
                    <a:pt x="4523315" y="1797616"/>
                  </a:lnTo>
                  <a:lnTo>
                    <a:pt x="4514482" y="1783425"/>
                  </a:lnTo>
                  <a:lnTo>
                    <a:pt x="4496845" y="1754936"/>
                  </a:lnTo>
                  <a:lnTo>
                    <a:pt x="4461463" y="1697929"/>
                  </a:lnTo>
                  <a:lnTo>
                    <a:pt x="4452660" y="1683629"/>
                  </a:lnTo>
                  <a:lnTo>
                    <a:pt x="4443141" y="1669834"/>
                  </a:lnTo>
                  <a:lnTo>
                    <a:pt x="4424241" y="1642166"/>
                  </a:lnTo>
                  <a:cubicBezTo>
                    <a:pt x="4399005" y="1605265"/>
                    <a:pt x="4374512" y="1567751"/>
                    <a:pt x="4346886" y="1532412"/>
                  </a:cubicBezTo>
                  <a:cubicBezTo>
                    <a:pt x="4240477" y="1388328"/>
                    <a:pt x="4120362" y="1253437"/>
                    <a:pt x="3985497" y="1134649"/>
                  </a:cubicBezTo>
                  <a:cubicBezTo>
                    <a:pt x="3850799" y="1015675"/>
                    <a:pt x="3702920" y="911715"/>
                    <a:pt x="3545665" y="825877"/>
                  </a:cubicBezTo>
                  <a:lnTo>
                    <a:pt x="3486190" y="794756"/>
                  </a:lnTo>
                  <a:cubicBezTo>
                    <a:pt x="3466181" y="784640"/>
                    <a:pt x="3446893" y="773560"/>
                    <a:pt x="3426182" y="764765"/>
                  </a:cubicBezTo>
                  <a:lnTo>
                    <a:pt x="3365044" y="737255"/>
                  </a:lnTo>
                  <a:lnTo>
                    <a:pt x="3334529" y="723514"/>
                  </a:lnTo>
                  <a:cubicBezTo>
                    <a:pt x="3324394" y="718943"/>
                    <a:pt x="3314287" y="714265"/>
                    <a:pt x="3303733" y="710395"/>
                  </a:cubicBezTo>
                  <a:cubicBezTo>
                    <a:pt x="3262013" y="694346"/>
                    <a:pt x="3220711" y="677599"/>
                    <a:pt x="3179033" y="662259"/>
                  </a:cubicBezTo>
                  <a:lnTo>
                    <a:pt x="3052408" y="620447"/>
                  </a:lnTo>
                  <a:lnTo>
                    <a:pt x="2924325" y="584505"/>
                  </a:lnTo>
                  <a:cubicBezTo>
                    <a:pt x="2903106" y="578471"/>
                    <a:pt x="2881119" y="574434"/>
                    <a:pt x="2859667" y="569266"/>
                  </a:cubicBezTo>
                  <a:lnTo>
                    <a:pt x="2795226" y="554085"/>
                  </a:lnTo>
                  <a:cubicBezTo>
                    <a:pt x="2774078" y="548652"/>
                    <a:pt x="2751709" y="544744"/>
                    <a:pt x="2729702" y="540354"/>
                  </a:cubicBezTo>
                  <a:lnTo>
                    <a:pt x="2663758" y="527322"/>
                  </a:lnTo>
                  <a:lnTo>
                    <a:pt x="2630927" y="520495"/>
                  </a:lnTo>
                  <a:lnTo>
                    <a:pt x="2597965" y="515024"/>
                  </a:lnTo>
                  <a:cubicBezTo>
                    <a:pt x="2575970" y="511449"/>
                    <a:pt x="2554112" y="507795"/>
                    <a:pt x="2532205" y="503895"/>
                  </a:cubicBezTo>
                  <a:cubicBezTo>
                    <a:pt x="2357016" y="475037"/>
                    <a:pt x="2182954" y="456682"/>
                    <a:pt x="2010064" y="452552"/>
                  </a:cubicBezTo>
                  <a:cubicBezTo>
                    <a:pt x="1837255" y="448558"/>
                    <a:pt x="1665388" y="457916"/>
                    <a:pt x="1494552" y="485055"/>
                  </a:cubicBezTo>
                  <a:cubicBezTo>
                    <a:pt x="1452133" y="492816"/>
                    <a:pt x="1409569" y="501117"/>
                    <a:pt x="1366896" y="509389"/>
                  </a:cubicBezTo>
                  <a:cubicBezTo>
                    <a:pt x="1324862" y="520035"/>
                    <a:pt x="1282333" y="529505"/>
                    <a:pt x="1240175" y="541045"/>
                  </a:cubicBezTo>
                  <a:lnTo>
                    <a:pt x="1177438" y="560170"/>
                  </a:lnTo>
                  <a:lnTo>
                    <a:pt x="1145987" y="569826"/>
                  </a:lnTo>
                  <a:lnTo>
                    <a:pt x="1130315" y="574669"/>
                  </a:lnTo>
                  <a:lnTo>
                    <a:pt x="1114873" y="580384"/>
                  </a:lnTo>
                  <a:lnTo>
                    <a:pt x="1052839" y="602943"/>
                  </a:lnTo>
                  <a:cubicBezTo>
                    <a:pt x="1032151" y="610499"/>
                    <a:pt x="1011255" y="617535"/>
                    <a:pt x="991135" y="626866"/>
                  </a:cubicBezTo>
                  <a:lnTo>
                    <a:pt x="930179" y="653191"/>
                  </a:lnTo>
                  <a:cubicBezTo>
                    <a:pt x="909850" y="662002"/>
                    <a:pt x="889443" y="670676"/>
                    <a:pt x="869768" y="680937"/>
                  </a:cubicBezTo>
                  <a:lnTo>
                    <a:pt x="810085" y="710734"/>
                  </a:lnTo>
                  <a:cubicBezTo>
                    <a:pt x="790331" y="720859"/>
                    <a:pt x="770124" y="730514"/>
                    <a:pt x="751220" y="741794"/>
                  </a:cubicBezTo>
                  <a:cubicBezTo>
                    <a:pt x="673929" y="784955"/>
                    <a:pt x="598827" y="830326"/>
                    <a:pt x="532669" y="881688"/>
                  </a:cubicBezTo>
                  <a:cubicBezTo>
                    <a:pt x="464226" y="931625"/>
                    <a:pt x="406969" y="988270"/>
                    <a:pt x="354185" y="1050286"/>
                  </a:cubicBezTo>
                  <a:lnTo>
                    <a:pt x="315980" y="1098125"/>
                  </a:lnTo>
                  <a:lnTo>
                    <a:pt x="280345" y="1149782"/>
                  </a:lnTo>
                  <a:cubicBezTo>
                    <a:pt x="268144" y="1166335"/>
                    <a:pt x="257438" y="1185955"/>
                    <a:pt x="245890" y="1203959"/>
                  </a:cubicBezTo>
                  <a:cubicBezTo>
                    <a:pt x="234552" y="1222481"/>
                    <a:pt x="223171" y="1240298"/>
                    <a:pt x="212162" y="1260184"/>
                  </a:cubicBezTo>
                  <a:cubicBezTo>
                    <a:pt x="168299" y="1337574"/>
                    <a:pt x="125055" y="1419360"/>
                    <a:pt x="80716" y="1502476"/>
                  </a:cubicBezTo>
                  <a:lnTo>
                    <a:pt x="0" y="1648841"/>
                  </a:lnTo>
                  <a:lnTo>
                    <a:pt x="0" y="954863"/>
                  </a:lnTo>
                  <a:lnTo>
                    <a:pt x="43491" y="895513"/>
                  </a:lnTo>
                  <a:cubicBezTo>
                    <a:pt x="59888" y="874984"/>
                    <a:pt x="77014" y="854766"/>
                    <a:pt x="93923" y="834489"/>
                  </a:cubicBezTo>
                  <a:cubicBezTo>
                    <a:pt x="163245" y="754880"/>
                    <a:pt x="240806" y="679565"/>
                    <a:pt x="323465" y="617671"/>
                  </a:cubicBezTo>
                  <a:cubicBezTo>
                    <a:pt x="405002" y="553042"/>
                    <a:pt x="490132" y="499230"/>
                    <a:pt x="574777" y="446794"/>
                  </a:cubicBezTo>
                  <a:cubicBezTo>
                    <a:pt x="595733" y="433050"/>
                    <a:pt x="617442" y="421248"/>
                    <a:pt x="638943" y="408925"/>
                  </a:cubicBezTo>
                  <a:lnTo>
                    <a:pt x="703505" y="371742"/>
                  </a:lnTo>
                  <a:cubicBezTo>
                    <a:pt x="724798" y="358900"/>
                    <a:pt x="747120" y="347842"/>
                    <a:pt x="769262" y="336154"/>
                  </a:cubicBezTo>
                  <a:lnTo>
                    <a:pt x="835552" y="301173"/>
                  </a:lnTo>
                  <a:cubicBezTo>
                    <a:pt x="857427" y="289183"/>
                    <a:pt x="880470" y="278896"/>
                    <a:pt x="902979" y="268004"/>
                  </a:cubicBezTo>
                  <a:lnTo>
                    <a:pt x="971127" y="235607"/>
                  </a:lnTo>
                  <a:lnTo>
                    <a:pt x="988238" y="227556"/>
                  </a:lnTo>
                  <a:lnTo>
                    <a:pt x="1005744" y="220191"/>
                  </a:lnTo>
                  <a:lnTo>
                    <a:pt x="1040729" y="205569"/>
                  </a:lnTo>
                  <a:lnTo>
                    <a:pt x="1110835" y="176248"/>
                  </a:lnTo>
                  <a:cubicBezTo>
                    <a:pt x="1157999" y="157703"/>
                    <a:pt x="1206322" y="141323"/>
                    <a:pt x="1254256" y="123796"/>
                  </a:cubicBezTo>
                  <a:cubicBezTo>
                    <a:pt x="1302938" y="108671"/>
                    <a:pt x="1352074" y="94017"/>
                    <a:pt x="1401310" y="79852"/>
                  </a:cubicBezTo>
                  <a:cubicBezTo>
                    <a:pt x="1599497" y="26774"/>
                    <a:pt x="1806373" y="-329"/>
                    <a:pt x="2011811" y="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sp>
          <p:nvSpPr>
            <p:cNvPr id="14" name="Freeform: Shape 13">
              <a:extLst>
                <a:ext uri="{FF2B5EF4-FFF2-40B4-BE49-F238E27FC236}">
                  <a16:creationId xmlns:a16="http://schemas.microsoft.com/office/drawing/2014/main" id="{06AC5DCC-C3CC-4FD5-AD4E-13A1BE5F7F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297400"/>
              <a:ext cx="5215811" cy="6107388"/>
            </a:xfrm>
            <a:custGeom>
              <a:avLst/>
              <a:gdLst>
                <a:gd name="connsiteX0" fmla="*/ 1869139 w 5215811"/>
                <a:gd name="connsiteY0" fmla="*/ 9 h 6107388"/>
                <a:gd name="connsiteX1" fmla="*/ 2791149 w 5215811"/>
                <a:gd name="connsiteY1" fmla="*/ 130229 h 6107388"/>
                <a:gd name="connsiteX2" fmla="*/ 4760307 w 5215811"/>
                <a:gd name="connsiteY2" fmla="*/ 1608408 h 6107388"/>
                <a:gd name="connsiteX3" fmla="*/ 5108574 w 5215811"/>
                <a:gd name="connsiteY3" fmla="*/ 4050383 h 6107388"/>
                <a:gd name="connsiteX4" fmla="*/ 3434916 w 5215811"/>
                <a:gd name="connsiteY4" fmla="*/ 5503134 h 6107388"/>
                <a:gd name="connsiteX5" fmla="*/ 1137841 w 5215811"/>
                <a:gd name="connsiteY5" fmla="*/ 6033968 h 6107388"/>
                <a:gd name="connsiteX6" fmla="*/ 217555 w 5215811"/>
                <a:gd name="connsiteY6" fmla="*/ 5598945 h 6107388"/>
                <a:gd name="connsiteX7" fmla="*/ 0 w 5215811"/>
                <a:gd name="connsiteY7" fmla="*/ 5419622 h 6107388"/>
                <a:gd name="connsiteX8" fmla="*/ 0 w 5215811"/>
                <a:gd name="connsiteY8" fmla="*/ 4571683 h 6107388"/>
                <a:gd name="connsiteX9" fmla="*/ 18056 w 5215811"/>
                <a:gd name="connsiteY9" fmla="*/ 4599282 h 6107388"/>
                <a:gd name="connsiteX10" fmla="*/ 358324 w 5215811"/>
                <a:gd name="connsiteY10" fmla="*/ 4988154 h 6107388"/>
                <a:gd name="connsiteX11" fmla="*/ 1282741 w 5215811"/>
                <a:gd name="connsiteY11" fmla="*/ 5493193 h 6107388"/>
                <a:gd name="connsiteX12" fmla="*/ 2172794 w 5215811"/>
                <a:gd name="connsiteY12" fmla="*/ 5470630 h 6107388"/>
                <a:gd name="connsiteX13" fmla="*/ 3146893 w 5215811"/>
                <a:gd name="connsiteY13" fmla="*/ 5016296 h 6107388"/>
                <a:gd name="connsiteX14" fmla="*/ 3574114 w 5215811"/>
                <a:gd name="connsiteY14" fmla="*/ 4791124 h 6107388"/>
                <a:gd name="connsiteX15" fmla="*/ 4244948 w 5215811"/>
                <a:gd name="connsiteY15" fmla="*/ 4392664 h 6107388"/>
                <a:gd name="connsiteX16" fmla="*/ 4556385 w 5215811"/>
                <a:gd name="connsiteY16" fmla="*/ 3902656 h 6107388"/>
                <a:gd name="connsiteX17" fmla="*/ 4616354 w 5215811"/>
                <a:gd name="connsiteY17" fmla="*/ 2851680 h 6107388"/>
                <a:gd name="connsiteX18" fmla="*/ 4269266 w 5215811"/>
                <a:gd name="connsiteY18" fmla="*/ 1889625 h 6107388"/>
                <a:gd name="connsiteX19" fmla="*/ 2645976 w 5215811"/>
                <a:gd name="connsiteY19" fmla="*/ 671162 h 6107388"/>
                <a:gd name="connsiteX20" fmla="*/ 1648930 w 5215811"/>
                <a:gd name="connsiteY20" fmla="*/ 573017 h 6107388"/>
                <a:gd name="connsiteX21" fmla="*/ 771768 w 5215811"/>
                <a:gd name="connsiteY21" fmla="*/ 865882 h 6107388"/>
                <a:gd name="connsiteX22" fmla="*/ 433617 w 5215811"/>
                <a:gd name="connsiteY22" fmla="*/ 1119441 h 6107388"/>
                <a:gd name="connsiteX23" fmla="*/ 200571 w 5215811"/>
                <a:gd name="connsiteY23" fmla="*/ 1486480 h 6107388"/>
                <a:gd name="connsiteX24" fmla="*/ 47077 w 5215811"/>
                <a:gd name="connsiteY24" fmla="*/ 1753604 h 6107388"/>
                <a:gd name="connsiteX25" fmla="*/ 0 w 5215811"/>
                <a:gd name="connsiteY25" fmla="*/ 1831655 h 6107388"/>
                <a:gd name="connsiteX26" fmla="*/ 0 w 5215811"/>
                <a:gd name="connsiteY26" fmla="*/ 751112 h 6107388"/>
                <a:gd name="connsiteX27" fmla="*/ 6994 w 5215811"/>
                <a:gd name="connsiteY27" fmla="*/ 742614 h 6107388"/>
                <a:gd name="connsiteX28" fmla="*/ 484047 w 5215811"/>
                <a:gd name="connsiteY28" fmla="*/ 378777 h 6107388"/>
                <a:gd name="connsiteX29" fmla="*/ 1869139 w 5215811"/>
                <a:gd name="connsiteY29" fmla="*/ 9 h 610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5811" h="6107388">
                  <a:moveTo>
                    <a:pt x="1869139" y="9"/>
                  </a:moveTo>
                  <a:cubicBezTo>
                    <a:pt x="2160924" y="-706"/>
                    <a:pt x="2465752" y="43039"/>
                    <a:pt x="2791149" y="130229"/>
                  </a:cubicBezTo>
                  <a:cubicBezTo>
                    <a:pt x="3651198" y="360678"/>
                    <a:pt x="4339884" y="907924"/>
                    <a:pt x="4760307" y="1608408"/>
                  </a:cubicBezTo>
                  <a:cubicBezTo>
                    <a:pt x="5188180" y="2321320"/>
                    <a:pt x="5338357" y="3192822"/>
                    <a:pt x="5108574" y="4050383"/>
                  </a:cubicBezTo>
                  <a:cubicBezTo>
                    <a:pt x="4880820" y="4900373"/>
                    <a:pt x="4152841" y="5098512"/>
                    <a:pt x="3434916" y="5503134"/>
                  </a:cubicBezTo>
                  <a:cubicBezTo>
                    <a:pt x="2717099" y="5907783"/>
                    <a:pt x="2005568" y="6266474"/>
                    <a:pt x="1137841" y="6033968"/>
                  </a:cubicBezTo>
                  <a:cubicBezTo>
                    <a:pt x="783079" y="5938910"/>
                    <a:pt x="479573" y="5790114"/>
                    <a:pt x="217555" y="5598945"/>
                  </a:cubicBezTo>
                  <a:lnTo>
                    <a:pt x="0" y="5419622"/>
                  </a:lnTo>
                  <a:lnTo>
                    <a:pt x="0" y="4571683"/>
                  </a:lnTo>
                  <a:lnTo>
                    <a:pt x="18056" y="4599282"/>
                  </a:lnTo>
                  <a:cubicBezTo>
                    <a:pt x="124071" y="4746782"/>
                    <a:pt x="237002" y="4875718"/>
                    <a:pt x="358324" y="4988154"/>
                  </a:cubicBezTo>
                  <a:cubicBezTo>
                    <a:pt x="621323" y="5231809"/>
                    <a:pt x="923667" y="5396979"/>
                    <a:pt x="1282741" y="5493193"/>
                  </a:cubicBezTo>
                  <a:cubicBezTo>
                    <a:pt x="1573894" y="5571207"/>
                    <a:pt x="1856732" y="5563878"/>
                    <a:pt x="2172794" y="5470630"/>
                  </a:cubicBezTo>
                  <a:cubicBezTo>
                    <a:pt x="2498985" y="5374183"/>
                    <a:pt x="2832844" y="5193315"/>
                    <a:pt x="3146893" y="5016296"/>
                  </a:cubicBezTo>
                  <a:cubicBezTo>
                    <a:pt x="3293538" y="4933641"/>
                    <a:pt x="3436182" y="4861160"/>
                    <a:pt x="3574114" y="4791124"/>
                  </a:cubicBezTo>
                  <a:cubicBezTo>
                    <a:pt x="3841238" y="4655550"/>
                    <a:pt x="4071901" y="4538375"/>
                    <a:pt x="4244948" y="4392664"/>
                  </a:cubicBezTo>
                  <a:cubicBezTo>
                    <a:pt x="4405844" y="4257259"/>
                    <a:pt x="4501845" y="4106204"/>
                    <a:pt x="4556385" y="3902656"/>
                  </a:cubicBezTo>
                  <a:cubicBezTo>
                    <a:pt x="4649063" y="3556776"/>
                    <a:pt x="4669271" y="3203187"/>
                    <a:pt x="4616354" y="2851680"/>
                  </a:cubicBezTo>
                  <a:cubicBezTo>
                    <a:pt x="4565198" y="2511774"/>
                    <a:pt x="4448474" y="2188147"/>
                    <a:pt x="4269266" y="1889625"/>
                  </a:cubicBezTo>
                  <a:cubicBezTo>
                    <a:pt x="3907781" y="1287586"/>
                    <a:pt x="3331245" y="854780"/>
                    <a:pt x="2645976" y="671162"/>
                  </a:cubicBezTo>
                  <a:cubicBezTo>
                    <a:pt x="2278249" y="572630"/>
                    <a:pt x="1952074" y="540526"/>
                    <a:pt x="1648930" y="573017"/>
                  </a:cubicBezTo>
                  <a:cubicBezTo>
                    <a:pt x="1351746" y="604901"/>
                    <a:pt x="1064785" y="700731"/>
                    <a:pt x="771768" y="865882"/>
                  </a:cubicBezTo>
                  <a:cubicBezTo>
                    <a:pt x="568061" y="980657"/>
                    <a:pt x="486465" y="1058486"/>
                    <a:pt x="433617" y="1119441"/>
                  </a:cubicBezTo>
                  <a:cubicBezTo>
                    <a:pt x="358307" y="1206256"/>
                    <a:pt x="292149" y="1323808"/>
                    <a:pt x="200571" y="1486480"/>
                  </a:cubicBezTo>
                  <a:cubicBezTo>
                    <a:pt x="156644" y="1564432"/>
                    <a:pt x="106654" y="1653214"/>
                    <a:pt x="47077" y="1753604"/>
                  </a:cubicBezTo>
                  <a:lnTo>
                    <a:pt x="0" y="1831655"/>
                  </a:lnTo>
                  <a:lnTo>
                    <a:pt x="0" y="751112"/>
                  </a:lnTo>
                  <a:lnTo>
                    <a:pt x="6994" y="742614"/>
                  </a:lnTo>
                  <a:cubicBezTo>
                    <a:pt x="117721" y="617683"/>
                    <a:pt x="259696" y="505222"/>
                    <a:pt x="484047" y="378777"/>
                  </a:cubicBezTo>
                  <a:cubicBezTo>
                    <a:pt x="932751" y="125890"/>
                    <a:pt x="1382831" y="1200"/>
                    <a:pt x="1869139" y="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Shape 14">
              <a:extLst>
                <a:ext uri="{FF2B5EF4-FFF2-40B4-BE49-F238E27FC236}">
                  <a16:creationId xmlns:a16="http://schemas.microsoft.com/office/drawing/2014/main" id="{4BBCC2F4-EFA7-4AF4-B538-AC4022D90F4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319367"/>
              <a:ext cx="5217956" cy="6100079"/>
            </a:xfrm>
            <a:custGeom>
              <a:avLst/>
              <a:gdLst>
                <a:gd name="connsiteX0" fmla="*/ 1951393 w 5217956"/>
                <a:gd name="connsiteY0" fmla="*/ 82 h 6100079"/>
                <a:gd name="connsiteX1" fmla="*/ 2855177 w 5217956"/>
                <a:gd name="connsiteY1" fmla="*/ 125419 h 6100079"/>
                <a:gd name="connsiteX2" fmla="*/ 4779341 w 5217956"/>
                <a:gd name="connsiteY2" fmla="*/ 1591542 h 6100079"/>
                <a:gd name="connsiteX3" fmla="*/ 5108573 w 5217956"/>
                <a:gd name="connsiteY3" fmla="*/ 4028416 h 6100079"/>
                <a:gd name="connsiteX4" fmla="*/ 3459358 w 5217956"/>
                <a:gd name="connsiteY4" fmla="*/ 5487716 h 6100079"/>
                <a:gd name="connsiteX5" fmla="*/ 1203274 w 5217956"/>
                <a:gd name="connsiteY5" fmla="*/ 6029534 h 6100079"/>
                <a:gd name="connsiteX6" fmla="*/ 59920 w 5217956"/>
                <a:gd name="connsiteY6" fmla="*/ 5396467 h 6100079"/>
                <a:gd name="connsiteX7" fmla="*/ 0 w 5217956"/>
                <a:gd name="connsiteY7" fmla="*/ 5333382 h 6100079"/>
                <a:gd name="connsiteX8" fmla="*/ 0 w 5217956"/>
                <a:gd name="connsiteY8" fmla="*/ 4205833 h 6100079"/>
                <a:gd name="connsiteX9" fmla="*/ 58036 w 5217956"/>
                <a:gd name="connsiteY9" fmla="*/ 4310048 h 6100079"/>
                <a:gd name="connsiteX10" fmla="*/ 520779 w 5217956"/>
                <a:gd name="connsiteY10" fmla="*/ 4907591 h 6100079"/>
                <a:gd name="connsiteX11" fmla="*/ 1377154 w 5217956"/>
                <a:gd name="connsiteY11" fmla="*/ 5380604 h 6100079"/>
                <a:gd name="connsiteX12" fmla="*/ 3123340 w 5217956"/>
                <a:gd name="connsiteY12" fmla="*/ 4905715 h 6100079"/>
                <a:gd name="connsiteX13" fmla="*/ 3547863 w 5217956"/>
                <a:gd name="connsiteY13" fmla="*/ 4676342 h 6100079"/>
                <a:gd name="connsiteX14" fmla="*/ 4186753 w 5217956"/>
                <a:gd name="connsiteY14" fmla="*/ 4289376 h 6100079"/>
                <a:gd name="connsiteX15" fmla="*/ 4459565 w 5217956"/>
                <a:gd name="connsiteY15" fmla="*/ 3854399 h 6100079"/>
                <a:gd name="connsiteX16" fmla="*/ 4521015 w 5217956"/>
                <a:gd name="connsiteY16" fmla="*/ 2849377 h 6100079"/>
                <a:gd name="connsiteX17" fmla="*/ 4199723 w 5217956"/>
                <a:gd name="connsiteY17" fmla="*/ 1931213 h 6100079"/>
                <a:gd name="connsiteX18" fmla="*/ 2681217 w 5217956"/>
                <a:gd name="connsiteY18" fmla="*/ 774211 h 6100079"/>
                <a:gd name="connsiteX19" fmla="*/ 926547 w 5217956"/>
                <a:gd name="connsiteY19" fmla="*/ 967112 h 6100079"/>
                <a:gd name="connsiteX20" fmla="*/ 622677 w 5217956"/>
                <a:gd name="connsiteY20" fmla="*/ 1197863 h 6100079"/>
                <a:gd name="connsiteX21" fmla="*/ 404892 w 5217956"/>
                <a:gd name="connsiteY21" fmla="*/ 1547314 h 6100079"/>
                <a:gd name="connsiteX22" fmla="*/ 40135 w 5217956"/>
                <a:gd name="connsiteY22" fmla="*/ 2159090 h 6100079"/>
                <a:gd name="connsiteX23" fmla="*/ 0 w 5217956"/>
                <a:gd name="connsiteY23" fmla="*/ 2219367 h 6100079"/>
                <a:gd name="connsiteX24" fmla="*/ 0 w 5217956"/>
                <a:gd name="connsiteY24" fmla="*/ 915659 h 6100079"/>
                <a:gd name="connsiteX25" fmla="*/ 58609 w 5217956"/>
                <a:gd name="connsiteY25" fmla="*/ 828051 h 6100079"/>
                <a:gd name="connsiteX26" fmla="*/ 590688 w 5217956"/>
                <a:gd name="connsiteY26" fmla="*/ 385385 h 6100079"/>
                <a:gd name="connsiteX27" fmla="*/ 1951393 w 5217956"/>
                <a:gd name="connsiteY27"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217956" h="6100079">
                  <a:moveTo>
                    <a:pt x="1951393" y="82"/>
                  </a:moveTo>
                  <a:cubicBezTo>
                    <a:pt x="2237631" y="-2119"/>
                    <a:pt x="2536431" y="40011"/>
                    <a:pt x="2855177" y="125419"/>
                  </a:cubicBezTo>
                  <a:cubicBezTo>
                    <a:pt x="3697704" y="351173"/>
                    <a:pt x="4370490" y="894159"/>
                    <a:pt x="4779341" y="1591542"/>
                  </a:cubicBezTo>
                  <a:cubicBezTo>
                    <a:pt x="5195534" y="2301324"/>
                    <a:pt x="5338356" y="3170855"/>
                    <a:pt x="5108573" y="4028416"/>
                  </a:cubicBezTo>
                  <a:cubicBezTo>
                    <a:pt x="4880819" y="4878406"/>
                    <a:pt x="4165603" y="5079965"/>
                    <a:pt x="3459358" y="5487716"/>
                  </a:cubicBezTo>
                  <a:cubicBezTo>
                    <a:pt x="2753114" y="5895466"/>
                    <a:pt x="2053264" y="6257288"/>
                    <a:pt x="1203274" y="6029534"/>
                  </a:cubicBezTo>
                  <a:cubicBezTo>
                    <a:pt x="739884" y="5905369"/>
                    <a:pt x="366399" y="5685345"/>
                    <a:pt x="59920" y="5396467"/>
                  </a:cubicBezTo>
                  <a:lnTo>
                    <a:pt x="0" y="5333382"/>
                  </a:lnTo>
                  <a:lnTo>
                    <a:pt x="0" y="4205833"/>
                  </a:lnTo>
                  <a:lnTo>
                    <a:pt x="58036" y="4310048"/>
                  </a:lnTo>
                  <a:cubicBezTo>
                    <a:pt x="197935" y="4550245"/>
                    <a:pt x="350594" y="4747142"/>
                    <a:pt x="520779" y="4907591"/>
                  </a:cubicBezTo>
                  <a:cubicBezTo>
                    <a:pt x="763600" y="5136565"/>
                    <a:pt x="1043821" y="5291288"/>
                    <a:pt x="1377154" y="5380604"/>
                  </a:cubicBezTo>
                  <a:cubicBezTo>
                    <a:pt x="1963029" y="5537589"/>
                    <a:pt x="2470519" y="5282804"/>
                    <a:pt x="3123340" y="4905715"/>
                  </a:cubicBezTo>
                  <a:cubicBezTo>
                    <a:pt x="3269800" y="4821157"/>
                    <a:pt x="3411134" y="4747512"/>
                    <a:pt x="3547863" y="4676342"/>
                  </a:cubicBezTo>
                  <a:cubicBezTo>
                    <a:pt x="3804497" y="4542710"/>
                    <a:pt x="4026085" y="4427393"/>
                    <a:pt x="4186753" y="4289376"/>
                  </a:cubicBezTo>
                  <a:cubicBezTo>
                    <a:pt x="4329009" y="4167293"/>
                    <a:pt x="4410589" y="4037181"/>
                    <a:pt x="4459565" y="3854399"/>
                  </a:cubicBezTo>
                  <a:cubicBezTo>
                    <a:pt x="4548302" y="3523229"/>
                    <a:pt x="4568981" y="3185183"/>
                    <a:pt x="4521015" y="2849377"/>
                  </a:cubicBezTo>
                  <a:cubicBezTo>
                    <a:pt x="4474709" y="2524680"/>
                    <a:pt x="4366564" y="2215756"/>
                    <a:pt x="4199723" y="1931213"/>
                  </a:cubicBezTo>
                  <a:cubicBezTo>
                    <a:pt x="3863270" y="1357325"/>
                    <a:pt x="3323982" y="946439"/>
                    <a:pt x="2681217" y="774211"/>
                  </a:cubicBezTo>
                  <a:cubicBezTo>
                    <a:pt x="2001139" y="591984"/>
                    <a:pt x="1476322" y="649699"/>
                    <a:pt x="926547" y="967112"/>
                  </a:cubicBezTo>
                  <a:cubicBezTo>
                    <a:pt x="740730" y="1074393"/>
                    <a:pt x="668642" y="1143989"/>
                    <a:pt x="622677" y="1197863"/>
                  </a:cubicBezTo>
                  <a:cubicBezTo>
                    <a:pt x="555599" y="1276450"/>
                    <a:pt x="492360" y="1390031"/>
                    <a:pt x="404892" y="1547314"/>
                  </a:cubicBezTo>
                  <a:cubicBezTo>
                    <a:pt x="317047" y="1705133"/>
                    <a:pt x="204816" y="1906756"/>
                    <a:pt x="40135" y="2159090"/>
                  </a:cubicBezTo>
                  <a:lnTo>
                    <a:pt x="0" y="2219367"/>
                  </a:lnTo>
                  <a:lnTo>
                    <a:pt x="0" y="915659"/>
                  </a:lnTo>
                  <a:lnTo>
                    <a:pt x="58609" y="828051"/>
                  </a:lnTo>
                  <a:cubicBezTo>
                    <a:pt x="177453" y="670481"/>
                    <a:pt x="325846" y="538291"/>
                    <a:pt x="590688" y="385385"/>
                  </a:cubicBezTo>
                  <a:cubicBezTo>
                    <a:pt x="1032158" y="130559"/>
                    <a:pt x="1474329" y="3750"/>
                    <a:pt x="1951393"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Shape 15">
              <a:extLst>
                <a:ext uri="{FF2B5EF4-FFF2-40B4-BE49-F238E27FC236}">
                  <a16:creationId xmlns:a16="http://schemas.microsoft.com/office/drawing/2014/main" id="{2A9D1364-B6A3-44CB-9FBA-C528F0CE90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319367"/>
              <a:ext cx="5217957" cy="6100079"/>
            </a:xfrm>
            <a:custGeom>
              <a:avLst/>
              <a:gdLst>
                <a:gd name="connsiteX0" fmla="*/ 1951394 w 5217957"/>
                <a:gd name="connsiteY0" fmla="*/ 82 h 6100079"/>
                <a:gd name="connsiteX1" fmla="*/ 2855178 w 5217957"/>
                <a:gd name="connsiteY1" fmla="*/ 125419 h 6100079"/>
                <a:gd name="connsiteX2" fmla="*/ 4779341 w 5217957"/>
                <a:gd name="connsiteY2" fmla="*/ 1591542 h 6100079"/>
                <a:gd name="connsiteX3" fmla="*/ 5108574 w 5217957"/>
                <a:gd name="connsiteY3" fmla="*/ 4028416 h 6100079"/>
                <a:gd name="connsiteX4" fmla="*/ 3459359 w 5217957"/>
                <a:gd name="connsiteY4" fmla="*/ 5487716 h 6100079"/>
                <a:gd name="connsiteX5" fmla="*/ 1203275 w 5217957"/>
                <a:gd name="connsiteY5" fmla="*/ 6029534 h 6100079"/>
                <a:gd name="connsiteX6" fmla="*/ 59921 w 5217957"/>
                <a:gd name="connsiteY6" fmla="*/ 5396467 h 6100079"/>
                <a:gd name="connsiteX7" fmla="*/ 0 w 5217957"/>
                <a:gd name="connsiteY7" fmla="*/ 5333381 h 6100079"/>
                <a:gd name="connsiteX8" fmla="*/ 0 w 5217957"/>
                <a:gd name="connsiteY8" fmla="*/ 4427327 h 6100079"/>
                <a:gd name="connsiteX9" fmla="*/ 112056 w 5217957"/>
                <a:gd name="connsiteY9" fmla="*/ 4602502 h 6100079"/>
                <a:gd name="connsiteX10" fmla="*/ 443875 w 5217957"/>
                <a:gd name="connsiteY10" fmla="*/ 4989110 h 6100079"/>
                <a:gd name="connsiteX11" fmla="*/ 1348175 w 5217957"/>
                <a:gd name="connsiteY11" fmla="*/ 5488759 h 6100079"/>
                <a:gd name="connsiteX12" fmla="*/ 2221463 w 5217957"/>
                <a:gd name="connsiteY12" fmla="*/ 5461704 h 6100079"/>
                <a:gd name="connsiteX13" fmla="*/ 3179339 w 5217957"/>
                <a:gd name="connsiteY13" fmla="*/ 5003023 h 6100079"/>
                <a:gd name="connsiteX14" fmla="*/ 3599638 w 5217957"/>
                <a:gd name="connsiteY14" fmla="*/ 4775996 h 6100079"/>
                <a:gd name="connsiteX15" fmla="*/ 4259765 w 5217957"/>
                <a:gd name="connsiteY15" fmla="*/ 4374667 h 6100079"/>
                <a:gd name="connsiteX16" fmla="*/ 4567742 w 5217957"/>
                <a:gd name="connsiteY16" fmla="*/ 3883732 h 6100079"/>
                <a:gd name="connsiteX17" fmla="*/ 4631929 w 5217957"/>
                <a:gd name="connsiteY17" fmla="*/ 2833886 h 6100079"/>
                <a:gd name="connsiteX18" fmla="*/ 4296412 w 5217957"/>
                <a:gd name="connsiteY18" fmla="*/ 1874932 h 6100079"/>
                <a:gd name="connsiteX19" fmla="*/ 2710219 w 5217957"/>
                <a:gd name="connsiteY19" fmla="*/ 666410 h 6100079"/>
                <a:gd name="connsiteX20" fmla="*/ 1732642 w 5217957"/>
                <a:gd name="connsiteY20" fmla="*/ 573480 h 6100079"/>
                <a:gd name="connsiteX21" fmla="*/ 870621 w 5217957"/>
                <a:gd name="connsiteY21" fmla="*/ 870402 h 6100079"/>
                <a:gd name="connsiteX22" fmla="*/ 537555 w 5217957"/>
                <a:gd name="connsiteY22" fmla="*/ 1125324 h 6100079"/>
                <a:gd name="connsiteX23" fmla="*/ 306995 w 5217957"/>
                <a:gd name="connsiteY23" fmla="*/ 1493030 h 6100079"/>
                <a:gd name="connsiteX24" fmla="*/ 23579 w 5217957"/>
                <a:gd name="connsiteY24" fmla="*/ 1977465 h 6100079"/>
                <a:gd name="connsiteX25" fmla="*/ 0 w 5217957"/>
                <a:gd name="connsiteY25" fmla="*/ 2014291 h 6100079"/>
                <a:gd name="connsiteX26" fmla="*/ 0 w 5217957"/>
                <a:gd name="connsiteY26" fmla="*/ 915660 h 6100079"/>
                <a:gd name="connsiteX27" fmla="*/ 58609 w 5217957"/>
                <a:gd name="connsiteY27" fmla="*/ 828051 h 6100079"/>
                <a:gd name="connsiteX28" fmla="*/ 590689 w 5217957"/>
                <a:gd name="connsiteY28" fmla="*/ 385385 h 6100079"/>
                <a:gd name="connsiteX29" fmla="*/ 1951394 w 5217957"/>
                <a:gd name="connsiteY29"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7957" h="6100079">
                  <a:moveTo>
                    <a:pt x="1951394" y="82"/>
                  </a:moveTo>
                  <a:cubicBezTo>
                    <a:pt x="2237632" y="-2119"/>
                    <a:pt x="2536431" y="40011"/>
                    <a:pt x="2855178" y="125419"/>
                  </a:cubicBezTo>
                  <a:cubicBezTo>
                    <a:pt x="3697704" y="351173"/>
                    <a:pt x="4370491" y="894159"/>
                    <a:pt x="4779341" y="1591542"/>
                  </a:cubicBezTo>
                  <a:cubicBezTo>
                    <a:pt x="5195535" y="2301324"/>
                    <a:pt x="5338357" y="3170855"/>
                    <a:pt x="5108574" y="4028416"/>
                  </a:cubicBezTo>
                  <a:cubicBezTo>
                    <a:pt x="4880820" y="4878406"/>
                    <a:pt x="4165604" y="5079965"/>
                    <a:pt x="3459359" y="5487716"/>
                  </a:cubicBezTo>
                  <a:cubicBezTo>
                    <a:pt x="2753115" y="5895466"/>
                    <a:pt x="2053265" y="6257288"/>
                    <a:pt x="1203275" y="6029534"/>
                  </a:cubicBezTo>
                  <a:cubicBezTo>
                    <a:pt x="739885" y="5905369"/>
                    <a:pt x="366400" y="5685345"/>
                    <a:pt x="59921" y="5396467"/>
                  </a:cubicBezTo>
                  <a:lnTo>
                    <a:pt x="0" y="5333381"/>
                  </a:lnTo>
                  <a:lnTo>
                    <a:pt x="0" y="4427327"/>
                  </a:lnTo>
                  <a:lnTo>
                    <a:pt x="112056" y="4602502"/>
                  </a:lnTo>
                  <a:cubicBezTo>
                    <a:pt x="215300" y="4749260"/>
                    <a:pt x="325419" y="4877443"/>
                    <a:pt x="443875" y="4989110"/>
                  </a:cubicBezTo>
                  <a:cubicBezTo>
                    <a:pt x="700709" y="5231113"/>
                    <a:pt x="996455" y="5394516"/>
                    <a:pt x="1348175" y="5488759"/>
                  </a:cubicBezTo>
                  <a:cubicBezTo>
                    <a:pt x="1633379" y="5565179"/>
                    <a:pt x="1910917" y="5556430"/>
                    <a:pt x="2221463" y="5461704"/>
                  </a:cubicBezTo>
                  <a:cubicBezTo>
                    <a:pt x="2541923" y="5363721"/>
                    <a:pt x="2870374" y="5181404"/>
                    <a:pt x="3179339" y="5003023"/>
                  </a:cubicBezTo>
                  <a:cubicBezTo>
                    <a:pt x="3323713" y="4919760"/>
                    <a:pt x="3463978" y="4846641"/>
                    <a:pt x="3599638" y="4775996"/>
                  </a:cubicBezTo>
                  <a:cubicBezTo>
                    <a:pt x="3862436" y="4639263"/>
                    <a:pt x="4089314" y="4521074"/>
                    <a:pt x="4259765" y="4374667"/>
                  </a:cubicBezTo>
                  <a:cubicBezTo>
                    <a:pt x="4418282" y="4238625"/>
                    <a:pt x="4513201" y="4087280"/>
                    <a:pt x="4567742" y="3883732"/>
                  </a:cubicBezTo>
                  <a:cubicBezTo>
                    <a:pt x="4660420" y="3537853"/>
                    <a:pt x="4682033" y="3184640"/>
                    <a:pt x="4631929" y="2833886"/>
                  </a:cubicBezTo>
                  <a:cubicBezTo>
                    <a:pt x="4583584" y="2494734"/>
                    <a:pt x="4470646" y="2172121"/>
                    <a:pt x="4296412" y="1874932"/>
                  </a:cubicBezTo>
                  <a:cubicBezTo>
                    <a:pt x="3944879" y="1275559"/>
                    <a:pt x="3381537" y="846289"/>
                    <a:pt x="2710219" y="666410"/>
                  </a:cubicBezTo>
                  <a:cubicBezTo>
                    <a:pt x="2349955" y="569877"/>
                    <a:pt x="2030161" y="539483"/>
                    <a:pt x="1732642" y="573480"/>
                  </a:cubicBezTo>
                  <a:cubicBezTo>
                    <a:pt x="1440866" y="606814"/>
                    <a:pt x="1158880" y="703976"/>
                    <a:pt x="870621" y="870402"/>
                  </a:cubicBezTo>
                  <a:cubicBezTo>
                    <a:pt x="670160" y="986048"/>
                    <a:pt x="589753" y="1064195"/>
                    <a:pt x="537555" y="1125324"/>
                  </a:cubicBezTo>
                  <a:cubicBezTo>
                    <a:pt x="463218" y="1212400"/>
                    <a:pt x="397708" y="1330125"/>
                    <a:pt x="306995" y="1493030"/>
                  </a:cubicBezTo>
                  <a:cubicBezTo>
                    <a:pt x="234596" y="1623167"/>
                    <a:pt x="145436" y="1783409"/>
                    <a:pt x="23579" y="1977465"/>
                  </a:cubicBezTo>
                  <a:lnTo>
                    <a:pt x="0" y="2014291"/>
                  </a:lnTo>
                  <a:lnTo>
                    <a:pt x="0" y="915660"/>
                  </a:lnTo>
                  <a:lnTo>
                    <a:pt x="58609" y="828051"/>
                  </a:lnTo>
                  <a:cubicBezTo>
                    <a:pt x="177453" y="670481"/>
                    <a:pt x="325847" y="538291"/>
                    <a:pt x="590689" y="385385"/>
                  </a:cubicBezTo>
                  <a:cubicBezTo>
                    <a:pt x="1032159" y="130559"/>
                    <a:pt x="1474330" y="3750"/>
                    <a:pt x="1951394"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grpSp>
      <p:sp>
        <p:nvSpPr>
          <p:cNvPr id="2" name="Title 1"/>
          <p:cNvSpPr>
            <a:spLocks noGrp="1"/>
          </p:cNvSpPr>
          <p:nvPr>
            <p:ph type="title"/>
          </p:nvPr>
        </p:nvSpPr>
        <p:spPr>
          <a:xfrm>
            <a:off x="640080" y="1243013"/>
            <a:ext cx="3855720" cy="4371974"/>
          </a:xfrm>
        </p:spPr>
        <p:txBody>
          <a:bodyPr>
            <a:normAutofit/>
          </a:bodyPr>
          <a:lstStyle/>
          <a:p>
            <a:r>
              <a:rPr lang="en-US" sz="3600" dirty="0" err="1">
                <a:solidFill>
                  <a:schemeClr val="tx2"/>
                </a:solidFill>
              </a:rPr>
              <a:t>Hva</a:t>
            </a:r>
            <a:r>
              <a:rPr lang="en-US" sz="3600" dirty="0">
                <a:solidFill>
                  <a:schemeClr val="tx2"/>
                </a:solidFill>
              </a:rPr>
              <a:t> </a:t>
            </a:r>
            <a:r>
              <a:rPr lang="en-US" sz="3600" dirty="0" err="1">
                <a:solidFill>
                  <a:schemeClr val="tx2"/>
                </a:solidFill>
              </a:rPr>
              <a:t>kan</a:t>
            </a:r>
            <a:r>
              <a:rPr lang="en-US" sz="3600" dirty="0">
                <a:solidFill>
                  <a:schemeClr val="tx2"/>
                </a:solidFill>
              </a:rPr>
              <a:t> QualityRights </a:t>
            </a:r>
            <a:r>
              <a:rPr lang="en-US" sz="3600" dirty="0" err="1">
                <a:solidFill>
                  <a:schemeClr val="tx2"/>
                </a:solidFill>
              </a:rPr>
              <a:t>tilby</a:t>
            </a:r>
            <a:r>
              <a:rPr lang="en-US" sz="3600" dirty="0">
                <a:solidFill>
                  <a:schemeClr val="tx2"/>
                </a:solidFill>
              </a:rPr>
              <a:t>?</a:t>
            </a:r>
          </a:p>
        </p:txBody>
      </p:sp>
      <p:sp>
        <p:nvSpPr>
          <p:cNvPr id="3" name="Content Placeholder 2"/>
          <p:cNvSpPr>
            <a:spLocks noGrp="1"/>
          </p:cNvSpPr>
          <p:nvPr>
            <p:ph idx="1"/>
          </p:nvPr>
        </p:nvSpPr>
        <p:spPr>
          <a:xfrm>
            <a:off x="6172200" y="804672"/>
            <a:ext cx="5221224" cy="5230368"/>
          </a:xfrm>
        </p:spPr>
        <p:txBody>
          <a:bodyPr anchor="ctr">
            <a:normAutofit lnSpcReduction="10000"/>
          </a:bodyPr>
          <a:lstStyle/>
          <a:p>
            <a:pPr marL="0" indent="0">
              <a:buNone/>
            </a:pPr>
            <a:endParaRPr lang="en-US" sz="1800" dirty="0">
              <a:solidFill>
                <a:schemeClr val="tx2"/>
              </a:solidFill>
            </a:endParaRPr>
          </a:p>
          <a:p>
            <a:r>
              <a:rPr lang="en-US" sz="2400" b="1" dirty="0" err="1">
                <a:solidFill>
                  <a:schemeClr val="tx2"/>
                </a:solidFill>
              </a:rPr>
              <a:t>Opplæring</a:t>
            </a:r>
            <a:r>
              <a:rPr lang="en-US" sz="2400" b="1" dirty="0">
                <a:solidFill>
                  <a:schemeClr val="tx2"/>
                </a:solidFill>
              </a:rPr>
              <a:t> </a:t>
            </a:r>
            <a:r>
              <a:rPr lang="en-US" sz="2400" b="1" dirty="0" err="1">
                <a:solidFill>
                  <a:schemeClr val="tx2"/>
                </a:solidFill>
              </a:rPr>
              <a:t>i</a:t>
            </a:r>
            <a:r>
              <a:rPr lang="en-US" sz="2400" b="1" dirty="0">
                <a:solidFill>
                  <a:schemeClr val="tx2"/>
                </a:solidFill>
              </a:rPr>
              <a:t> CRPD </a:t>
            </a:r>
            <a:r>
              <a:rPr lang="en-US" sz="2400" b="1" dirty="0" err="1">
                <a:solidFill>
                  <a:schemeClr val="tx2"/>
                </a:solidFill>
              </a:rPr>
              <a:t>og</a:t>
            </a:r>
            <a:r>
              <a:rPr lang="en-US" sz="2400" b="1" dirty="0">
                <a:solidFill>
                  <a:schemeClr val="tx2"/>
                </a:solidFill>
              </a:rPr>
              <a:t> Recovery</a:t>
            </a:r>
          </a:p>
          <a:p>
            <a:r>
              <a:rPr lang="en-US" sz="2400" dirty="0" err="1">
                <a:solidFill>
                  <a:schemeClr val="tx2"/>
                </a:solidFill>
              </a:rPr>
              <a:t>Veiledning</a:t>
            </a:r>
            <a:r>
              <a:rPr lang="en-US" sz="2400" dirty="0">
                <a:solidFill>
                  <a:schemeClr val="tx2"/>
                </a:solidFill>
              </a:rPr>
              <a:t> </a:t>
            </a:r>
            <a:r>
              <a:rPr lang="en-US" sz="2400" dirty="0" err="1">
                <a:solidFill>
                  <a:schemeClr val="tx2"/>
                </a:solidFill>
              </a:rPr>
              <a:t>i</a:t>
            </a:r>
            <a:r>
              <a:rPr lang="en-US" sz="2400" dirty="0">
                <a:solidFill>
                  <a:schemeClr val="tx2"/>
                </a:solidFill>
              </a:rPr>
              <a:t> </a:t>
            </a:r>
            <a:r>
              <a:rPr lang="en-US" sz="2400" dirty="0" err="1">
                <a:solidFill>
                  <a:schemeClr val="tx2"/>
                </a:solidFill>
              </a:rPr>
              <a:t>utvikling</a:t>
            </a:r>
            <a:r>
              <a:rPr lang="en-US" sz="2400" dirty="0">
                <a:solidFill>
                  <a:schemeClr val="tx2"/>
                </a:solidFill>
              </a:rPr>
              <a:t> </a:t>
            </a:r>
            <a:r>
              <a:rPr lang="en-US" sz="2400" dirty="0" err="1">
                <a:solidFill>
                  <a:schemeClr val="tx2"/>
                </a:solidFill>
              </a:rPr>
              <a:t>av</a:t>
            </a:r>
            <a:r>
              <a:rPr lang="en-US" sz="2400" dirty="0">
                <a:solidFill>
                  <a:schemeClr val="tx2"/>
                </a:solidFill>
              </a:rPr>
              <a:t> </a:t>
            </a:r>
            <a:r>
              <a:rPr lang="en-US" sz="2400" dirty="0" err="1">
                <a:solidFill>
                  <a:schemeClr val="tx2"/>
                </a:solidFill>
              </a:rPr>
              <a:t>lov</a:t>
            </a:r>
            <a:r>
              <a:rPr lang="en-US" sz="2400" dirty="0">
                <a:solidFill>
                  <a:schemeClr val="tx2"/>
                </a:solidFill>
              </a:rPr>
              <a:t> </a:t>
            </a:r>
            <a:r>
              <a:rPr lang="en-US" sz="2400" dirty="0" err="1">
                <a:solidFill>
                  <a:schemeClr val="tx2"/>
                </a:solidFill>
              </a:rPr>
              <a:t>og</a:t>
            </a:r>
            <a:r>
              <a:rPr lang="en-US" sz="2400" dirty="0">
                <a:solidFill>
                  <a:schemeClr val="tx2"/>
                </a:solidFill>
              </a:rPr>
              <a:t> </a:t>
            </a:r>
            <a:r>
              <a:rPr lang="en-US" sz="2400" dirty="0" err="1">
                <a:solidFill>
                  <a:schemeClr val="tx2"/>
                </a:solidFill>
              </a:rPr>
              <a:t>politikk</a:t>
            </a:r>
            <a:r>
              <a:rPr lang="en-US" sz="2400" dirty="0">
                <a:solidFill>
                  <a:schemeClr val="tx2"/>
                </a:solidFill>
              </a:rPr>
              <a:t> </a:t>
            </a:r>
          </a:p>
          <a:p>
            <a:r>
              <a:rPr lang="en-US" sz="2400" b="1" dirty="0" err="1">
                <a:solidFill>
                  <a:schemeClr val="tx2"/>
                </a:solidFill>
              </a:rPr>
              <a:t>Utvikle</a:t>
            </a:r>
            <a:r>
              <a:rPr lang="en-US" sz="2400" b="1" dirty="0">
                <a:solidFill>
                  <a:schemeClr val="tx2"/>
                </a:solidFill>
              </a:rPr>
              <a:t> person </a:t>
            </a:r>
            <a:r>
              <a:rPr lang="en-US" sz="2400" b="1" dirty="0" err="1">
                <a:solidFill>
                  <a:schemeClr val="tx2"/>
                </a:solidFill>
              </a:rPr>
              <a:t>og</a:t>
            </a:r>
            <a:r>
              <a:rPr lang="en-US" sz="2400" b="1" dirty="0">
                <a:solidFill>
                  <a:schemeClr val="tx2"/>
                </a:solidFill>
              </a:rPr>
              <a:t>- recovery </a:t>
            </a:r>
            <a:r>
              <a:rPr lang="en-US" sz="2400" b="1" dirty="0" err="1">
                <a:solidFill>
                  <a:schemeClr val="tx2"/>
                </a:solidFill>
              </a:rPr>
              <a:t>orienterte</a:t>
            </a:r>
            <a:r>
              <a:rPr lang="en-US" sz="2400" b="1" dirty="0">
                <a:solidFill>
                  <a:schemeClr val="tx2"/>
                </a:solidFill>
              </a:rPr>
              <a:t> </a:t>
            </a:r>
            <a:r>
              <a:rPr lang="en-US" sz="2400" b="1" dirty="0" err="1">
                <a:solidFill>
                  <a:schemeClr val="tx2"/>
                </a:solidFill>
              </a:rPr>
              <a:t>tjenester</a:t>
            </a:r>
            <a:r>
              <a:rPr lang="en-US" sz="2400" b="1" dirty="0">
                <a:solidFill>
                  <a:schemeClr val="tx2"/>
                </a:solidFill>
              </a:rPr>
              <a:t> </a:t>
            </a:r>
            <a:r>
              <a:rPr lang="en-US" sz="2400" b="1" dirty="0" err="1">
                <a:solidFill>
                  <a:schemeClr val="tx2"/>
                </a:solidFill>
              </a:rPr>
              <a:t>basert</a:t>
            </a:r>
            <a:r>
              <a:rPr lang="en-US" sz="2400" b="1" dirty="0">
                <a:solidFill>
                  <a:schemeClr val="tx2"/>
                </a:solidFill>
              </a:rPr>
              <a:t> </a:t>
            </a:r>
            <a:r>
              <a:rPr lang="en-US" sz="2400" b="1" dirty="0" err="1">
                <a:solidFill>
                  <a:schemeClr val="tx2"/>
                </a:solidFill>
              </a:rPr>
              <a:t>i</a:t>
            </a:r>
            <a:r>
              <a:rPr lang="en-US" sz="2400" b="1" dirty="0">
                <a:solidFill>
                  <a:schemeClr val="tx2"/>
                </a:solidFill>
              </a:rPr>
              <a:t> </a:t>
            </a:r>
            <a:r>
              <a:rPr lang="en-US" sz="2400" b="1" dirty="0" err="1">
                <a:solidFill>
                  <a:schemeClr val="tx2"/>
                </a:solidFill>
              </a:rPr>
              <a:t>menneskerettighetene</a:t>
            </a:r>
            <a:endParaRPr lang="en-US" sz="2400" b="1" dirty="0">
              <a:solidFill>
                <a:schemeClr val="tx2"/>
              </a:solidFill>
            </a:endParaRPr>
          </a:p>
          <a:p>
            <a:endParaRPr lang="en-US" sz="2400" dirty="0">
              <a:solidFill>
                <a:schemeClr val="tx2"/>
              </a:solidFill>
            </a:endParaRPr>
          </a:p>
          <a:p>
            <a:pPr marL="0" indent="0">
              <a:buNone/>
            </a:pPr>
            <a:r>
              <a:rPr lang="en-US" sz="2400" i="1" dirty="0">
                <a:solidFill>
                  <a:schemeClr val="tx2"/>
                </a:solidFill>
              </a:rPr>
              <a:t>“The active involvement of the psychiatric profession and its leaders in the shift towards rights-compliant mental health policies and services is a crucial element for success in positive global mental health changes”</a:t>
            </a:r>
            <a:r>
              <a:rPr lang="en-US" sz="2400" b="1" i="1" baseline="30000" dirty="0">
                <a:solidFill>
                  <a:schemeClr val="tx2"/>
                </a:solidFill>
              </a:rPr>
              <a:t>1</a:t>
            </a:r>
            <a:r>
              <a:rPr lang="en-US" sz="2400" b="1" i="1" dirty="0">
                <a:solidFill>
                  <a:schemeClr val="tx2"/>
                </a:solidFill>
              </a:rPr>
              <a:t> SR Helse 2019</a:t>
            </a:r>
          </a:p>
          <a:p>
            <a:endParaRPr lang="en-US" sz="1800" dirty="0">
              <a:solidFill>
                <a:schemeClr val="tx2"/>
              </a:solidFill>
            </a:endParaRPr>
          </a:p>
        </p:txBody>
      </p:sp>
    </p:spTree>
    <p:extLst>
      <p:ext uri="{BB962C8B-B14F-4D97-AF65-F5344CB8AC3E}">
        <p14:creationId xmlns:p14="http://schemas.microsoft.com/office/powerpoint/2010/main" val="29047228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MPLATEID" val="LPB_169"/>
  <p:tag name="LANGUAGEID" val="1033"/>
  <p:tag name="COLORTHEMEID" val="LPBBlue"/>
  <p:tag name="BRANDID" val="LPB"/>
  <p:tag name="MARKETNAME" val="Pharma &amp; Biotech"/>
  <p:tag name="CLIENT" val="LZA"/>
  <p:tag name="VERSION" val="1001"/>
  <p:tag name="REFERENCEDATE" val="43545"/>
  <p:tag name="DATE" val="3 April 2019"/>
  <p:tag name="FOOTER1" val="Lonza Microbiome JV - media briefing"/>
</p:tagLst>
</file>

<file path=ppt/tags/tag10.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HAPETYPE" val="Source"/>
</p:tagLst>
</file>

<file path=ppt/tags/tag2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xml><?xml version="1.0" encoding="utf-8"?>
<p:tagLst xmlns:a="http://schemas.openxmlformats.org/drawingml/2006/main" xmlns:r="http://schemas.openxmlformats.org/officeDocument/2006/relationships" xmlns:p="http://schemas.openxmlformats.org/presentationml/2006/main">
  <p:tag name="SHAPETYPE" val="Sourc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SHAPETYPE" val="Source"/>
</p:tagLst>
</file>

<file path=ppt/tags/tag4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SHAPETYPE" val="Logo"/>
  <p:tag name="DUPLICATEONIMAGE" val="True"/>
</p:tagLst>
</file>

<file path=ppt/tags/tag49.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SHAPETYPE" val="Source"/>
</p:tagLst>
</file>

<file path=ppt/tags/tag6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Logo"/>
  <p:tag name="DUPLICATEONIMAGE" val="True"/>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Lonza media conference_microbiome slides_FINAL" id="{FD7A22A7-4169-B944-B07B-3A82302E1CDC}" vid="{9FD9A615-A655-A740-BB05-1DF3BFB5E4CC}"/>
    </a:ext>
  </a:extLst>
</a:theme>
</file>

<file path=ppt/theme/theme4.xml><?xml version="1.0" encoding="utf-8"?>
<a:theme xmlns:a="http://schemas.openxmlformats.org/drawingml/2006/main" name="2_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5.xml><?xml version="1.0" encoding="utf-8"?>
<a:theme xmlns:a="http://schemas.openxmlformats.org/drawingml/2006/main" name="3_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LPB - Orange">
      <a:dk1>
        <a:sysClr val="windowText" lastClr="000000"/>
      </a:dk1>
      <a:lt1>
        <a:sysClr val="window" lastClr="FFFFFF"/>
      </a:lt1>
      <a:dk2>
        <a:srgbClr val="183F5A"/>
      </a:dk2>
      <a:lt2>
        <a:srgbClr val="7F7F7F"/>
      </a:lt2>
      <a:accent1>
        <a:srgbClr val="EE7439"/>
      </a:accent1>
      <a:accent2>
        <a:srgbClr val="F4AD00"/>
      </a:accent2>
      <a:accent3>
        <a:srgbClr val="007AC0"/>
      </a:accent3>
      <a:accent4>
        <a:srgbClr val="F6B392"/>
      </a:accent4>
      <a:accent5>
        <a:srgbClr val="F9D273"/>
      </a:accent5>
      <a:accent6>
        <a:srgbClr val="73B6D2"/>
      </a:accent6>
      <a:hlink>
        <a:srgbClr val="0563C1"/>
      </a:hlink>
      <a:folHlink>
        <a:srgbClr val="954F72"/>
      </a:folHlink>
    </a:clrScheme>
    <a:fontScheme name="LPB">
      <a:majorFont>
        <a:latin typeface="Century Gothic"/>
        <a:ea typeface="Arial Unicode MS"/>
        <a:cs typeface="Arial Unicode MS"/>
      </a:majorFont>
      <a:minorFont>
        <a:latin typeface="Calibri Light"/>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LPB - Orange">
      <a:dk1>
        <a:sysClr val="windowText" lastClr="000000"/>
      </a:dk1>
      <a:lt1>
        <a:sysClr val="window" lastClr="FFFFFF"/>
      </a:lt1>
      <a:dk2>
        <a:srgbClr val="183F5A"/>
      </a:dk2>
      <a:lt2>
        <a:srgbClr val="7F7F7F"/>
      </a:lt2>
      <a:accent1>
        <a:srgbClr val="EE7439"/>
      </a:accent1>
      <a:accent2>
        <a:srgbClr val="F4AD00"/>
      </a:accent2>
      <a:accent3>
        <a:srgbClr val="007AC0"/>
      </a:accent3>
      <a:accent4>
        <a:srgbClr val="F6B392"/>
      </a:accent4>
      <a:accent5>
        <a:srgbClr val="F9D273"/>
      </a:accent5>
      <a:accent6>
        <a:srgbClr val="73B6D2"/>
      </a:accent6>
      <a:hlink>
        <a:srgbClr val="0563C1"/>
      </a:hlink>
      <a:folHlink>
        <a:srgbClr val="954F72"/>
      </a:folHlink>
    </a:clrScheme>
    <a:fontScheme name="LPB">
      <a:majorFont>
        <a:latin typeface="Century Gothic"/>
        <a:ea typeface="Arial Unicode MS"/>
        <a:cs typeface="Arial Unicode MS"/>
      </a:majorFont>
      <a:minorFont>
        <a:latin typeface="Calibri Light"/>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956705E77DCC804E9BE7F1C1025886C8" ma:contentTypeVersion="2" ma:contentTypeDescription="Create a new document." ma:contentTypeScope="" ma:versionID="f1c990c1d5a8af9f80b633fb09d2bde5">
  <xsd:schema xmlns:xsd="http://www.w3.org/2001/XMLSchema" xmlns:xs="http://www.w3.org/2001/XMLSchema" xmlns:p="http://schemas.microsoft.com/office/2006/metadata/properties" xmlns:ns2="042b096b-4105-49eb-b55c-14c0faebc69d" xmlns:ns3="ef5a19a5-0bde-491a-9e5b-9baf636fab8c" targetNamespace="http://schemas.microsoft.com/office/2006/metadata/properties" ma:root="true" ma:fieldsID="ec4561506f63d7914714c578ad4965ca" ns2:_="" ns3:_="">
    <xsd:import namespace="042b096b-4105-49eb-b55c-14c0faebc69d"/>
    <xsd:import namespace="ef5a19a5-0bde-491a-9e5b-9baf636fab8c"/>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2b096b-4105-49eb-b55c-14c0faebc69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ef5a19a5-0bde-491a-9e5b-9baf636fab8c"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lc_DocId xmlns="042b096b-4105-49eb-b55c-14c0faebc69d">CRM347QYS2NC-1659832294-68</_dlc_DocId>
    <_dlc_DocIdUrl xmlns="042b096b-4105-49eb-b55c-14c0faebc69d">
      <Url>https://lonzagroup.sharepoint.com/sites/l003/_layouts/15/DocIdRedir.aspx?ID=CRM347QYS2NC-1659832294-68</Url>
      <Description>CRM347QYS2NC-1659832294-68</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680760B-1B5E-4DC8-826E-74FE9931AF94}">
  <ds:schemaRefs>
    <ds:schemaRef ds:uri="http://schemas.microsoft.com/sharepoint/events"/>
  </ds:schemaRefs>
</ds:datastoreItem>
</file>

<file path=customXml/itemProps2.xml><?xml version="1.0" encoding="utf-8"?>
<ds:datastoreItem xmlns:ds="http://schemas.openxmlformats.org/officeDocument/2006/customXml" ds:itemID="{D7801245-4ED9-47C9-9C04-7F899CAD05AA}">
  <ds:schemaRefs>
    <ds:schemaRef ds:uri="042b096b-4105-49eb-b55c-14c0faebc69d"/>
    <ds:schemaRef ds:uri="ef5a19a5-0bde-491a-9e5b-9baf636fab8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9AD0E1A-7E6E-4A7E-96B9-8EB3D8F53396}">
  <ds:schemaRefs>
    <ds:schemaRef ds:uri="http://schemas.openxmlformats.org/package/2006/metadata/core-properties"/>
    <ds:schemaRef ds:uri="http://schemas.microsoft.com/office/2006/documentManagement/types"/>
    <ds:schemaRef ds:uri="ef5a19a5-0bde-491a-9e5b-9baf636fab8c"/>
    <ds:schemaRef ds:uri="http://purl.org/dc/elements/1.1/"/>
    <ds:schemaRef ds:uri="http://schemas.microsoft.com/office/2006/metadata/properties"/>
    <ds:schemaRef ds:uri="http://schemas.microsoft.com/office/infopath/2007/PartnerControls"/>
    <ds:schemaRef ds:uri="http://purl.org/dc/terms/"/>
    <ds:schemaRef ds:uri="042b096b-4105-49eb-b55c-14c0faebc69d"/>
    <ds:schemaRef ds:uri="http://www.w3.org/XML/1998/namespace"/>
    <ds:schemaRef ds:uri="http://purl.org/dc/dcmitype/"/>
  </ds:schemaRefs>
</ds:datastoreItem>
</file>

<file path=customXml/itemProps4.xml><?xml version="1.0" encoding="utf-8"?>
<ds:datastoreItem xmlns:ds="http://schemas.openxmlformats.org/officeDocument/2006/customXml" ds:itemID="{059A2BC8-8DBB-433C-8417-516F08DCC3A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LPB</Template>
  <TotalTime>53968</TotalTime>
  <Words>3028</Words>
  <Application>Microsoft Office PowerPoint</Application>
  <PresentationFormat>Widescreen</PresentationFormat>
  <Paragraphs>278</Paragraphs>
  <Slides>34</Slides>
  <Notes>17</Notes>
  <HiddenSlides>0</HiddenSlides>
  <MMClips>2</MMClips>
  <ScaleCrop>false</ScaleCrop>
  <HeadingPairs>
    <vt:vector size="8" baseType="variant">
      <vt:variant>
        <vt:lpstr>Brukte skrifter</vt:lpstr>
      </vt:variant>
      <vt:variant>
        <vt:i4>9</vt:i4>
      </vt:variant>
      <vt:variant>
        <vt:lpstr>Tema</vt:lpstr>
      </vt:variant>
      <vt:variant>
        <vt:i4>6</vt:i4>
      </vt:variant>
      <vt:variant>
        <vt:lpstr>Innebygde OLE-servere</vt:lpstr>
      </vt:variant>
      <vt:variant>
        <vt:i4>1</vt:i4>
      </vt:variant>
      <vt:variant>
        <vt:lpstr>Lysbildetitler</vt:lpstr>
      </vt:variant>
      <vt:variant>
        <vt:i4>34</vt:i4>
      </vt:variant>
    </vt:vector>
  </HeadingPairs>
  <TitlesOfParts>
    <vt:vector size="50" baseType="lpstr">
      <vt:lpstr>Arial</vt:lpstr>
      <vt:lpstr>Arial Narrow</vt:lpstr>
      <vt:lpstr>Calibri</vt:lpstr>
      <vt:lpstr>Calibri Light</vt:lpstr>
      <vt:lpstr>Century Gothic</vt:lpstr>
      <vt:lpstr>Ebrima</vt:lpstr>
      <vt:lpstr>Symbol</vt:lpstr>
      <vt:lpstr>Times New Roman</vt:lpstr>
      <vt:lpstr>Wingdings</vt:lpstr>
      <vt:lpstr>LPB</vt:lpstr>
      <vt:lpstr>Office Theme</vt:lpstr>
      <vt:lpstr>1_LPB</vt:lpstr>
      <vt:lpstr>2_LPB</vt:lpstr>
      <vt:lpstr>3_LPB</vt:lpstr>
      <vt:lpstr>1_Office Theme</vt:lpstr>
      <vt:lpstr>think-cell Slide</vt:lpstr>
      <vt:lpstr>PowerPoint-presentasjon</vt:lpstr>
      <vt:lpstr>PowerPoint-presentasjon</vt:lpstr>
      <vt:lpstr>Vi vil si</vt:lpstr>
      <vt:lpstr>PowerPoint-presentasjon</vt:lpstr>
      <vt:lpstr>Reaksjoner?</vt:lpstr>
      <vt:lpstr>PowerPoint-presentasjon</vt:lpstr>
      <vt:lpstr>PowerPoint-presentasjon</vt:lpstr>
      <vt:lpstr>Hva kan QualityRights tilby?</vt:lpstr>
      <vt:lpstr>Hva kan QualityRights tilby?</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GRAND DESIGNS: Person-sentrerte / recovery orienterte tjenester:   </vt:lpstr>
      <vt:lpstr>PowerPoint-presentasjon</vt:lpstr>
      <vt:lpstr>Veileder i samfunnsbaserte psykiske helsetjenester</vt:lpstr>
      <vt:lpstr>PowerPoint-presentasjon</vt:lpstr>
      <vt:lpstr>Supported decision-making / Beslutningsstøtte  </vt:lpstr>
      <vt:lpstr>PowerPoint-presentasjon</vt:lpstr>
      <vt:lpstr>Fremtidsplanlegging</vt:lpstr>
      <vt:lpstr>Finnes det en konsensus i det psykiatriske fagfeltet? </vt:lpstr>
      <vt:lpstr>Konklusjon:</vt:lpstr>
      <vt:lpstr>References</vt:lpstr>
      <vt:lpstr>PowerPoint-presentasjon</vt:lpstr>
      <vt:lpstr>PowerPoint-presentasjon</vt:lpstr>
      <vt:lpstr>PowerPoint-presentasj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urse Slides: Legal capacity and the right to decide in mental health and social services</dc:title>
  <dc:creator>Julia Faure</dc:creator>
  <cp:lastModifiedBy>Pedersen, Audun</cp:lastModifiedBy>
  <cp:revision>226</cp:revision>
  <cp:lastPrinted>2019-10-28T11:58:38Z</cp:lastPrinted>
  <dcterms:created xsi:type="dcterms:W3CDTF">2019-04-19T06:21:23Z</dcterms:created>
  <dcterms:modified xsi:type="dcterms:W3CDTF">2022-06-01T06:5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6705E77DCC804E9BE7F1C1025886C8</vt:lpwstr>
  </property>
  <property fmtid="{D5CDD505-2E9C-101B-9397-08002B2CF9AE}" pid="3" name="_dlc_DocIdItemGuid">
    <vt:lpwstr>ff9045ed-125f-40ab-bbf0-2c943c8f1c66</vt:lpwstr>
  </property>
</Properties>
</file>